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4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5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4"/>
  </p:sldMasterIdLst>
  <p:notesMasterIdLst>
    <p:notesMasterId r:id="rId31"/>
  </p:notesMasterIdLst>
  <p:sldIdLst>
    <p:sldId id="274" r:id="rId5"/>
    <p:sldId id="2147483526" r:id="rId6"/>
    <p:sldId id="2147474344" r:id="rId7"/>
    <p:sldId id="2147483521" r:id="rId8"/>
    <p:sldId id="2147483530" r:id="rId9"/>
    <p:sldId id="2147483534" r:id="rId10"/>
    <p:sldId id="2147483535" r:id="rId11"/>
    <p:sldId id="2147483536" r:id="rId12"/>
    <p:sldId id="2147474354" r:id="rId13"/>
    <p:sldId id="2147474353" r:id="rId14"/>
    <p:sldId id="2147483523" r:id="rId15"/>
    <p:sldId id="2147474289" r:id="rId16"/>
    <p:sldId id="2147474296" r:id="rId17"/>
    <p:sldId id="2147474290" r:id="rId18"/>
    <p:sldId id="2147483531" r:id="rId19"/>
    <p:sldId id="2147483533" r:id="rId20"/>
    <p:sldId id="2147474297" r:id="rId21"/>
    <p:sldId id="2147483528" r:id="rId22"/>
    <p:sldId id="2147483529" r:id="rId23"/>
    <p:sldId id="2147483527" r:id="rId24"/>
    <p:sldId id="2147483520" r:id="rId25"/>
    <p:sldId id="2147483538" r:id="rId26"/>
    <p:sldId id="2147474287" r:id="rId27"/>
    <p:sldId id="2147474364" r:id="rId28"/>
    <p:sldId id="2147474254" r:id="rId29"/>
    <p:sldId id="273" r:id="rId30"/>
  </p:sldIdLst>
  <p:sldSz cx="9144000" cy="5143500" type="screen16x9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A6E8384-5C0F-92A1-5C69-3776094EC8CE}" name="Yang Liu" initials="YL" userId="S::Yang.Liu@psa.org.au::6fa39320-b2d8-443f-88d6-7b4857693711" providerId="AD"/>
  <p188:author id="{39190C95-0127-73EA-4F90-4F3AE113E8CA}" name="Kimberley Wang" initials="KW" userId="S::kimberley.wang@psa.org.au::f8979239-9c7f-4ee8-8d37-bdc91f0662fe" providerId="AD"/>
  <p188:author id="{5BCA2BB4-F82C-3335-E60A-124CD46AC2E4}" name="Mayli Foong" initials="MF" userId="S::Mayli.Foong@psa.org.au::066a5ed0-1c8b-49cf-8343-61350cc63fc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15" autoAdjust="0"/>
    <p:restoredTop sz="75061" autoAdjust="0"/>
  </p:normalViewPr>
  <p:slideViewPr>
    <p:cSldViewPr snapToGrid="0" snapToObjects="1">
      <p:cViewPr varScale="1">
        <p:scale>
          <a:sx n="62" d="100"/>
          <a:sy n="62" d="100"/>
        </p:scale>
        <p:origin x="704" y="48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yli Foong" userId="066a5ed0-1c8b-49cf-8343-61350cc63fcf" providerId="ADAL" clId="{9B12B05A-E6D0-48B6-AC1D-5C388B3D5A39}"/>
    <pc:docChg chg="custSel delSld modSld">
      <pc:chgData name="Mayli Foong" userId="066a5ed0-1c8b-49cf-8343-61350cc63fcf" providerId="ADAL" clId="{9B12B05A-E6D0-48B6-AC1D-5C388B3D5A39}" dt="2025-11-12T07:28:40.595" v="86" actId="20577"/>
      <pc:docMkLst>
        <pc:docMk/>
      </pc:docMkLst>
      <pc:sldChg chg="modSp mod">
        <pc:chgData name="Mayli Foong" userId="066a5ed0-1c8b-49cf-8343-61350cc63fcf" providerId="ADAL" clId="{9B12B05A-E6D0-48B6-AC1D-5C388B3D5A39}" dt="2025-11-12T07:28:40.595" v="86" actId="20577"/>
        <pc:sldMkLst>
          <pc:docMk/>
          <pc:sldMk cId="928162337" sldId="274"/>
        </pc:sldMkLst>
        <pc:spChg chg="mod">
          <ac:chgData name="Mayli Foong" userId="066a5ed0-1c8b-49cf-8343-61350cc63fcf" providerId="ADAL" clId="{9B12B05A-E6D0-48B6-AC1D-5C388B3D5A39}" dt="2025-11-12T07:28:40.595" v="86" actId="20577"/>
          <ac:spMkLst>
            <pc:docMk/>
            <pc:sldMk cId="928162337" sldId="274"/>
            <ac:spMk id="2" creationId="{1B2684E8-B9DC-8D65-D194-897C5C303B66}"/>
          </ac:spMkLst>
        </pc:spChg>
      </pc:sldChg>
      <pc:sldChg chg="modNotesTx">
        <pc:chgData name="Mayli Foong" userId="066a5ed0-1c8b-49cf-8343-61350cc63fcf" providerId="ADAL" clId="{9B12B05A-E6D0-48B6-AC1D-5C388B3D5A39}" dt="2025-11-10T08:20:28.961" v="16" actId="6549"/>
        <pc:sldMkLst>
          <pc:docMk/>
          <pc:sldMk cId="4004462839" sldId="2147474254"/>
        </pc:sldMkLst>
      </pc:sldChg>
      <pc:sldChg chg="modSp mod modNotesTx">
        <pc:chgData name="Mayli Foong" userId="066a5ed0-1c8b-49cf-8343-61350cc63fcf" providerId="ADAL" clId="{9B12B05A-E6D0-48B6-AC1D-5C388B3D5A39}" dt="2025-11-10T08:22:27.919" v="45" actId="33524"/>
        <pc:sldMkLst>
          <pc:docMk/>
          <pc:sldMk cId="2449245648" sldId="2147474287"/>
        </pc:sldMkLst>
        <pc:spChg chg="mod">
          <ac:chgData name="Mayli Foong" userId="066a5ed0-1c8b-49cf-8343-61350cc63fcf" providerId="ADAL" clId="{9B12B05A-E6D0-48B6-AC1D-5C388B3D5A39}" dt="2025-11-10T08:22:27.919" v="45" actId="33524"/>
          <ac:spMkLst>
            <pc:docMk/>
            <pc:sldMk cId="2449245648" sldId="2147474287"/>
            <ac:spMk id="12" creationId="{67FD71A6-490E-2E8A-AB7A-86683193C606}"/>
          </ac:spMkLst>
        </pc:spChg>
      </pc:sldChg>
      <pc:sldChg chg="modNotesTx">
        <pc:chgData name="Mayli Foong" userId="066a5ed0-1c8b-49cf-8343-61350cc63fcf" providerId="ADAL" clId="{9B12B05A-E6D0-48B6-AC1D-5C388B3D5A39}" dt="2025-11-10T08:19:49.833" v="5" actId="6549"/>
        <pc:sldMkLst>
          <pc:docMk/>
          <pc:sldMk cId="2190432907" sldId="2147474289"/>
        </pc:sldMkLst>
      </pc:sldChg>
      <pc:sldChg chg="modNotesTx">
        <pc:chgData name="Mayli Foong" userId="066a5ed0-1c8b-49cf-8343-61350cc63fcf" providerId="ADAL" clId="{9B12B05A-E6D0-48B6-AC1D-5C388B3D5A39}" dt="2025-11-10T08:19:55.378" v="7" actId="6549"/>
        <pc:sldMkLst>
          <pc:docMk/>
          <pc:sldMk cId="1236328958" sldId="2147474290"/>
        </pc:sldMkLst>
      </pc:sldChg>
      <pc:sldChg chg="modNotesTx">
        <pc:chgData name="Mayli Foong" userId="066a5ed0-1c8b-49cf-8343-61350cc63fcf" providerId="ADAL" clId="{9B12B05A-E6D0-48B6-AC1D-5C388B3D5A39}" dt="2025-11-10T08:19:52.148" v="6" actId="6549"/>
        <pc:sldMkLst>
          <pc:docMk/>
          <pc:sldMk cId="1744758339" sldId="2147474296"/>
        </pc:sldMkLst>
      </pc:sldChg>
      <pc:sldChg chg="modNotesTx">
        <pc:chgData name="Mayli Foong" userId="066a5ed0-1c8b-49cf-8343-61350cc63fcf" providerId="ADAL" clId="{9B12B05A-E6D0-48B6-AC1D-5C388B3D5A39}" dt="2025-11-10T08:20:03.600" v="10" actId="6549"/>
        <pc:sldMkLst>
          <pc:docMk/>
          <pc:sldMk cId="717975351" sldId="2147474297"/>
        </pc:sldMkLst>
      </pc:sldChg>
      <pc:sldChg chg="del">
        <pc:chgData name="Mayli Foong" userId="066a5ed0-1c8b-49cf-8343-61350cc63fcf" providerId="ADAL" clId="{9B12B05A-E6D0-48B6-AC1D-5C388B3D5A39}" dt="2025-11-10T08:21:02.017" v="17" actId="47"/>
        <pc:sldMkLst>
          <pc:docMk/>
          <pc:sldMk cId="1318299465" sldId="2147474312"/>
        </pc:sldMkLst>
      </pc:sldChg>
      <pc:sldChg chg="modNotesTx">
        <pc:chgData name="Mayli Foong" userId="066a5ed0-1c8b-49cf-8343-61350cc63fcf" providerId="ADAL" clId="{9B12B05A-E6D0-48B6-AC1D-5C388B3D5A39}" dt="2025-11-10T08:19:43.915" v="3" actId="6549"/>
        <pc:sldMkLst>
          <pc:docMk/>
          <pc:sldMk cId="3598693893" sldId="2147474354"/>
        </pc:sldMkLst>
      </pc:sldChg>
      <pc:sldChg chg="modNotesTx">
        <pc:chgData name="Mayli Foong" userId="066a5ed0-1c8b-49cf-8343-61350cc63fcf" providerId="ADAL" clId="{9B12B05A-E6D0-48B6-AC1D-5C388B3D5A39}" dt="2025-11-10T08:20:13.652" v="13" actId="6549"/>
        <pc:sldMkLst>
          <pc:docMk/>
          <pc:sldMk cId="394335869" sldId="2147483520"/>
        </pc:sldMkLst>
      </pc:sldChg>
      <pc:sldChg chg="modNotesTx">
        <pc:chgData name="Mayli Foong" userId="066a5ed0-1c8b-49cf-8343-61350cc63fcf" providerId="ADAL" clId="{9B12B05A-E6D0-48B6-AC1D-5C388B3D5A39}" dt="2025-11-10T08:19:25.298" v="1" actId="6549"/>
        <pc:sldMkLst>
          <pc:docMk/>
          <pc:sldMk cId="1065077103" sldId="2147483521"/>
        </pc:sldMkLst>
      </pc:sldChg>
      <pc:sldChg chg="modNotesTx">
        <pc:chgData name="Mayli Foong" userId="066a5ed0-1c8b-49cf-8343-61350cc63fcf" providerId="ADAL" clId="{9B12B05A-E6D0-48B6-AC1D-5C388B3D5A39}" dt="2025-11-10T08:19:47.958" v="4" actId="6549"/>
        <pc:sldMkLst>
          <pc:docMk/>
          <pc:sldMk cId="767958101" sldId="2147483523"/>
        </pc:sldMkLst>
      </pc:sldChg>
      <pc:sldChg chg="modNotesTx">
        <pc:chgData name="Mayli Foong" userId="066a5ed0-1c8b-49cf-8343-61350cc63fcf" providerId="ADAL" clId="{9B12B05A-E6D0-48B6-AC1D-5C388B3D5A39}" dt="2025-11-10T08:19:18.016" v="0" actId="6549"/>
        <pc:sldMkLst>
          <pc:docMk/>
          <pc:sldMk cId="1103019346" sldId="2147483526"/>
        </pc:sldMkLst>
      </pc:sldChg>
      <pc:sldChg chg="modNotesTx">
        <pc:chgData name="Mayli Foong" userId="066a5ed0-1c8b-49cf-8343-61350cc63fcf" providerId="ADAL" clId="{9B12B05A-E6D0-48B6-AC1D-5C388B3D5A39}" dt="2025-11-10T08:20:06.090" v="11" actId="6549"/>
        <pc:sldMkLst>
          <pc:docMk/>
          <pc:sldMk cId="1283473185" sldId="2147483528"/>
        </pc:sldMkLst>
      </pc:sldChg>
      <pc:sldChg chg="modNotesTx">
        <pc:chgData name="Mayli Foong" userId="066a5ed0-1c8b-49cf-8343-61350cc63fcf" providerId="ADAL" clId="{9B12B05A-E6D0-48B6-AC1D-5C388B3D5A39}" dt="2025-11-10T08:20:09.096" v="12" actId="6549"/>
        <pc:sldMkLst>
          <pc:docMk/>
          <pc:sldMk cId="2957427896" sldId="2147483529"/>
        </pc:sldMkLst>
      </pc:sldChg>
      <pc:sldChg chg="modNotesTx">
        <pc:chgData name="Mayli Foong" userId="066a5ed0-1c8b-49cf-8343-61350cc63fcf" providerId="ADAL" clId="{9B12B05A-E6D0-48B6-AC1D-5C388B3D5A39}" dt="2025-11-10T08:19:57.999" v="8" actId="6549"/>
        <pc:sldMkLst>
          <pc:docMk/>
          <pc:sldMk cId="1434262456" sldId="2147483531"/>
        </pc:sldMkLst>
      </pc:sldChg>
      <pc:sldChg chg="modNotesTx">
        <pc:chgData name="Mayli Foong" userId="066a5ed0-1c8b-49cf-8343-61350cc63fcf" providerId="ADAL" clId="{9B12B05A-E6D0-48B6-AC1D-5C388B3D5A39}" dt="2025-11-10T08:20:00.510" v="9" actId="6549"/>
        <pc:sldMkLst>
          <pc:docMk/>
          <pc:sldMk cId="1237034831" sldId="2147483533"/>
        </pc:sldMkLst>
      </pc:sldChg>
      <pc:sldChg chg="modNotesTx">
        <pc:chgData name="Mayli Foong" userId="066a5ed0-1c8b-49cf-8343-61350cc63fcf" providerId="ADAL" clId="{9B12B05A-E6D0-48B6-AC1D-5C388B3D5A39}" dt="2025-11-10T08:19:34.297" v="2" actId="6549"/>
        <pc:sldMkLst>
          <pc:docMk/>
          <pc:sldMk cId="2056016278" sldId="2147483534"/>
        </pc:sldMkLst>
      </pc:sldChg>
      <pc:sldChg chg="modNotesTx">
        <pc:chgData name="Mayli Foong" userId="066a5ed0-1c8b-49cf-8343-61350cc63fcf" providerId="ADAL" clId="{9B12B05A-E6D0-48B6-AC1D-5C388B3D5A39}" dt="2025-11-10T08:20:16.041" v="14" actId="6549"/>
        <pc:sldMkLst>
          <pc:docMk/>
          <pc:sldMk cId="1789503458" sldId="214748353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uthreyp\AppData\Roaming\Microsoft\Excel\Pharmacy%2520vaccination%2520data%2520rollout%2520graphs%20(version%201).xlsb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psaorgau-my.sharepoint.com/personal/peter_guthrey_psa_org_au/Documents/Pharmacy%20vaccination%20data%20rollout%20graphs%20(version%201).xlsb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psaorgau-my.sharepoint.com/personal/peter_guthrey_psa_org_au/Documents/Pharmacy%20vaccination%20data%20rollout%20graph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932140485676342"/>
          <c:y val="3.7512288181328943E-2"/>
          <c:w val="0.84569673686207536"/>
          <c:h val="0.8915616815515122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ustralia</c:v>
                </c:pt>
              </c:strCache>
            </c:strRef>
          </c:tx>
          <c:spPr>
            <a:ln w="28575" cap="rnd">
              <a:solidFill>
                <a:srgbClr val="FF2F92"/>
              </a:solidFill>
              <a:round/>
            </a:ln>
            <a:effectLst/>
          </c:spPr>
          <c:marker>
            <c:symbol val="none"/>
          </c:marker>
          <c:cat>
            <c:numRef>
              <c:f>Sheet1!$A$2:$A$21</c:f>
              <c:numCache>
                <c:formatCode>General</c:formatCode>
                <c:ptCount val="2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</c:numCache>
            </c:num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0.74419999999999997</c:v>
                </c:pt>
                <c:pt idx="1">
                  <c:v>0.79830000000000001</c:v>
                </c:pt>
                <c:pt idx="2">
                  <c:v>0.83709999999999996</c:v>
                </c:pt>
                <c:pt idx="3">
                  <c:v>0.79390000000000005</c:v>
                </c:pt>
                <c:pt idx="4">
                  <c:v>0.81969999999999998</c:v>
                </c:pt>
                <c:pt idx="5">
                  <c:v>0.88019999999999998</c:v>
                </c:pt>
                <c:pt idx="6">
                  <c:v>0.89480000000000004</c:v>
                </c:pt>
                <c:pt idx="7">
                  <c:v>0.90820000000000001</c:v>
                </c:pt>
                <c:pt idx="8">
                  <c:v>0.91859999999999997</c:v>
                </c:pt>
                <c:pt idx="9">
                  <c:v>0.92079999999999995</c:v>
                </c:pt>
                <c:pt idx="10">
                  <c:v>0.92589999999999995</c:v>
                </c:pt>
                <c:pt idx="11">
                  <c:v>0.93189999999999995</c:v>
                </c:pt>
                <c:pt idx="12">
                  <c:v>0.93959999999999999</c:v>
                </c:pt>
                <c:pt idx="13">
                  <c:v>0.94669999999999999</c:v>
                </c:pt>
                <c:pt idx="14">
                  <c:v>0.94789999999999996</c:v>
                </c:pt>
                <c:pt idx="15">
                  <c:v>0.95089999999999997</c:v>
                </c:pt>
                <c:pt idx="16">
                  <c:v>0.94979999999999998</c:v>
                </c:pt>
                <c:pt idx="17">
                  <c:v>0.94269999999999998</c:v>
                </c:pt>
                <c:pt idx="18">
                  <c:v>0.93930000000000002</c:v>
                </c:pt>
                <c:pt idx="19">
                  <c:v>0.9335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D26-4BBB-983B-FF688CBDAFC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solidFill>
                <a:srgbClr val="001F60"/>
              </a:solidFill>
              <a:round/>
            </a:ln>
            <a:effectLst/>
          </c:spPr>
          <c:marker>
            <c:symbol val="none"/>
          </c:marker>
          <c:cat>
            <c:numRef>
              <c:f>Sheet1!$A$2:$A$21</c:f>
              <c:numCache>
                <c:formatCode>General</c:formatCode>
                <c:ptCount val="2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</c:numCache>
            </c:numRef>
          </c:cat>
          <c:val>
            <c:numRef>
              <c:f>Sheet1!$C$2:$C$24</c:f>
              <c:numCache>
                <c:formatCode>General</c:formatCode>
                <c:ptCount val="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D26-4BBB-983B-FF688CBD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18243551"/>
        <c:axId val="918241151"/>
      </c:lineChart>
      <c:catAx>
        <c:axId val="9182435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18241151"/>
        <c:crosses val="autoZero"/>
        <c:auto val="1"/>
        <c:lblAlgn val="ctr"/>
        <c:lblOffset val="100"/>
        <c:tickLblSkip val="5"/>
        <c:tickMarkSkip val="1"/>
        <c:noMultiLvlLbl val="0"/>
      </c:catAx>
      <c:valAx>
        <c:axId val="918241151"/>
        <c:scaling>
          <c:orientation val="minMax"/>
          <c:max val="1"/>
          <c:min val="0.70000000000000007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AU"/>
                  <a:t>Proportion of 5-year old children fully vaccinated</a:t>
                </a:r>
              </a:p>
            </c:rich>
          </c:tx>
          <c:layout>
            <c:manualLayout>
              <c:xMode val="edge"/>
              <c:yMode val="edge"/>
              <c:x val="1.1326242648453803E-2"/>
              <c:y val="0.1930833811716118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182435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0.8678082906469361"/>
          <c:y val="0.58511459827094636"/>
          <c:w val="0.11778504623791511"/>
          <c:h val="0.225478679800011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932140485676342"/>
          <c:y val="3.7512288181328943E-2"/>
          <c:w val="0.72221447543160688"/>
          <c:h val="0.8915616815515122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emale</c:v>
                </c:pt>
              </c:strCache>
            </c:strRef>
          </c:tx>
          <c:spPr>
            <a:ln w="28575" cap="rnd">
              <a:solidFill>
                <a:srgbClr val="FF2F92"/>
              </a:solidFill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0.82399999999999995</c:v>
                </c:pt>
                <c:pt idx="1">
                  <c:v>0.81799999999999995</c:v>
                </c:pt>
                <c:pt idx="2">
                  <c:v>0.79700000000000004</c:v>
                </c:pt>
                <c:pt idx="3">
                  <c:v>0.85899999999999999</c:v>
                </c:pt>
                <c:pt idx="4">
                  <c:v>0.8339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D26-4BBB-983B-FF688CBDAFC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ale </c:v>
                </c:pt>
              </c:strCache>
            </c:strRef>
          </c:tx>
          <c:spPr>
            <a:ln w="28575" cap="rnd">
              <a:solidFill>
                <a:srgbClr val="001F6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0.79500000000000004</c:v>
                </c:pt>
                <c:pt idx="1">
                  <c:v>0.78700000000000003</c:v>
                </c:pt>
                <c:pt idx="2">
                  <c:v>0.76100000000000001</c:v>
                </c:pt>
                <c:pt idx="3">
                  <c:v>0.83399999999999996</c:v>
                </c:pt>
                <c:pt idx="4">
                  <c:v>0.80600000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D26-4BBB-983B-FF688CBD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18243551"/>
        <c:axId val="918241151"/>
      </c:lineChart>
      <c:catAx>
        <c:axId val="9182435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18241151"/>
        <c:crosses val="autoZero"/>
        <c:auto val="1"/>
        <c:lblAlgn val="ctr"/>
        <c:lblOffset val="100"/>
        <c:noMultiLvlLbl val="0"/>
      </c:catAx>
      <c:valAx>
        <c:axId val="918241151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AU"/>
                  <a:t>Proportion 15-yr adolescents fully vaccinated for HPV</a:t>
                </a:r>
              </a:p>
            </c:rich>
          </c:tx>
          <c:layout>
            <c:manualLayout>
              <c:xMode val="edge"/>
              <c:yMode val="edge"/>
              <c:x val="1.1326242648453803E-2"/>
              <c:y val="0.1930833811716118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182435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7985537515762924"/>
          <c:y val="3.2945849596452179E-2"/>
          <c:w val="0.11778504623791511"/>
          <c:h val="0.225478679800011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443855216835379E-2"/>
          <c:y val="0.14208642289893691"/>
          <c:w val="0.89940072466997345"/>
          <c:h val="0.7271139728021034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Influenza 2025'!$J$213</c:f>
              <c:strCache>
                <c:ptCount val="1"/>
                <c:pt idx="0">
                  <c:v>GP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'Influenza 2025'!$I$220:$I$224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'Influenza 2025'!$J$220:$J$224</c:f>
              <c:numCache>
                <c:formatCode>0.0%</c:formatCode>
                <c:ptCount val="5"/>
                <c:pt idx="0">
                  <c:v>0</c:v>
                </c:pt>
                <c:pt idx="1">
                  <c:v>0.62867986044239732</c:v>
                </c:pt>
                <c:pt idx="2">
                  <c:v>0.61736836635312953</c:v>
                </c:pt>
                <c:pt idx="3">
                  <c:v>0.5858107499427172</c:v>
                </c:pt>
                <c:pt idx="4">
                  <c:v>0.556173516869695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FAE-4B0A-A16C-FADFE2D2028A}"/>
            </c:ext>
          </c:extLst>
        </c:ser>
        <c:ser>
          <c:idx val="1"/>
          <c:order val="1"/>
          <c:tx>
            <c:strRef>
              <c:f>'Influenza 2025'!$K$213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'Influenza 2025'!$I$220:$I$224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'Influenza 2025'!$K$220:$K$224</c:f>
              <c:numCache>
                <c:formatCode>0.0%</c:formatCode>
                <c:ptCount val="5"/>
                <c:pt idx="0">
                  <c:v>0</c:v>
                </c:pt>
                <c:pt idx="1">
                  <c:v>0.13241059619237799</c:v>
                </c:pt>
                <c:pt idx="2">
                  <c:v>0.14589678452078528</c:v>
                </c:pt>
                <c:pt idx="3">
                  <c:v>0.1537397281484488</c:v>
                </c:pt>
                <c:pt idx="4">
                  <c:v>0.14955787368216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FAE-4B0A-A16C-FADFE2D2028A}"/>
            </c:ext>
          </c:extLst>
        </c:ser>
        <c:ser>
          <c:idx val="2"/>
          <c:order val="2"/>
          <c:tx>
            <c:strRef>
              <c:f>'Influenza 2025'!$L$213</c:f>
              <c:strCache>
                <c:ptCount val="1"/>
                <c:pt idx="0">
                  <c:v>Pharmacy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6FAE-4B0A-A16C-FADFE2D2028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Influenza 2025'!$I$220:$I$224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'Influenza 2025'!$L$220:$L$224</c:f>
              <c:numCache>
                <c:formatCode>0.0%</c:formatCode>
                <c:ptCount val="5"/>
                <c:pt idx="0">
                  <c:v>0</c:v>
                </c:pt>
                <c:pt idx="1">
                  <c:v>0.23890954336522466</c:v>
                </c:pt>
                <c:pt idx="2">
                  <c:v>0.23673484912608522</c:v>
                </c:pt>
                <c:pt idx="3">
                  <c:v>0.26044952190883397</c:v>
                </c:pt>
                <c:pt idx="4">
                  <c:v>0.294268609448140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FAE-4B0A-A16C-FADFE2D202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02601504"/>
        <c:axId val="1502051920"/>
      </c:barChart>
      <c:catAx>
        <c:axId val="1502601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502051920"/>
        <c:crosses val="autoZero"/>
        <c:auto val="1"/>
        <c:lblAlgn val="ctr"/>
        <c:lblOffset val="100"/>
        <c:noMultiLvlLbl val="0"/>
      </c:catAx>
      <c:valAx>
        <c:axId val="1502051920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502601504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5395384203464892"/>
          <c:y val="0.93640853295524595"/>
          <c:w val="0.28373607998739059"/>
          <c:h val="5.62749927844988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968399358827571"/>
          <c:y val="0.10563283740017815"/>
          <c:w val="0.93016558923785786"/>
          <c:h val="0.84846721438013184"/>
        </c:manualLayout>
      </c:layout>
      <c:scatterChart>
        <c:scatterStyle val="lineMarker"/>
        <c:varyColors val="0"/>
        <c:ser>
          <c:idx val="0"/>
          <c:order val="0"/>
          <c:tx>
            <c:strRef>
              <c:f>'[Pharmacy%20vaccination%20data%20rollout%20graphs (version 1).xlsb.xlsx]All COVID-19 vaccine data'!$A$968</c:f>
              <c:strCache>
                <c:ptCount val="1"/>
                <c:pt idx="0">
                  <c:v>Total</c:v>
                </c:pt>
              </c:strCache>
            </c:strRef>
          </c:tx>
          <c:spPr>
            <a:ln w="101600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C00000"/>
              </a:solidFill>
              <a:ln w="25400">
                <a:noFill/>
              </a:ln>
              <a:effectLst/>
            </c:spPr>
          </c:marker>
          <c:xVal>
            <c:numRef>
              <c:f>'[Pharmacy%20vaccination%20data%20rollout%20graphs (version 1).xlsb.xlsx]All COVID-19 vaccine data'!$B$959:$BIA$959</c:f>
              <c:numCache>
                <c:formatCode>m/d/yyyy</c:formatCode>
                <c:ptCount val="1586"/>
                <c:pt idx="0">
                  <c:v>44353</c:v>
                </c:pt>
                <c:pt idx="1">
                  <c:v>44354</c:v>
                </c:pt>
                <c:pt idx="2">
                  <c:v>44355</c:v>
                </c:pt>
                <c:pt idx="3">
                  <c:v>44356</c:v>
                </c:pt>
                <c:pt idx="4">
                  <c:v>44357</c:v>
                </c:pt>
                <c:pt idx="5">
                  <c:v>44358</c:v>
                </c:pt>
                <c:pt idx="6">
                  <c:v>44359</c:v>
                </c:pt>
                <c:pt idx="7">
                  <c:v>44360</c:v>
                </c:pt>
                <c:pt idx="8">
                  <c:v>44361</c:v>
                </c:pt>
                <c:pt idx="9">
                  <c:v>44362</c:v>
                </c:pt>
                <c:pt idx="10">
                  <c:v>44363</c:v>
                </c:pt>
                <c:pt idx="11">
                  <c:v>44364</c:v>
                </c:pt>
                <c:pt idx="12">
                  <c:v>44365</c:v>
                </c:pt>
                <c:pt idx="13">
                  <c:v>44366</c:v>
                </c:pt>
                <c:pt idx="14">
                  <c:v>44367</c:v>
                </c:pt>
                <c:pt idx="15">
                  <c:v>44368</c:v>
                </c:pt>
                <c:pt idx="16">
                  <c:v>44369</c:v>
                </c:pt>
                <c:pt idx="17">
                  <c:v>44370</c:v>
                </c:pt>
                <c:pt idx="18">
                  <c:v>44371</c:v>
                </c:pt>
                <c:pt idx="19">
                  <c:v>44372</c:v>
                </c:pt>
                <c:pt idx="20">
                  <c:v>44373</c:v>
                </c:pt>
                <c:pt idx="21">
                  <c:v>44374</c:v>
                </c:pt>
                <c:pt idx="22">
                  <c:v>44375</c:v>
                </c:pt>
                <c:pt idx="23">
                  <c:v>44376</c:v>
                </c:pt>
                <c:pt idx="24">
                  <c:v>44377</c:v>
                </c:pt>
                <c:pt idx="25">
                  <c:v>44378</c:v>
                </c:pt>
                <c:pt idx="26">
                  <c:v>44379</c:v>
                </c:pt>
                <c:pt idx="27">
                  <c:v>44380</c:v>
                </c:pt>
                <c:pt idx="28">
                  <c:v>44381</c:v>
                </c:pt>
                <c:pt idx="29">
                  <c:v>44382</c:v>
                </c:pt>
                <c:pt idx="30">
                  <c:v>44383</c:v>
                </c:pt>
                <c:pt idx="31">
                  <c:v>44384</c:v>
                </c:pt>
                <c:pt idx="32">
                  <c:v>44385</c:v>
                </c:pt>
                <c:pt idx="33">
                  <c:v>44386</c:v>
                </c:pt>
                <c:pt idx="34">
                  <c:v>44387</c:v>
                </c:pt>
                <c:pt idx="35">
                  <c:v>44388</c:v>
                </c:pt>
                <c:pt idx="36">
                  <c:v>44389</c:v>
                </c:pt>
                <c:pt idx="37">
                  <c:v>44390</c:v>
                </c:pt>
                <c:pt idx="38">
                  <c:v>44391</c:v>
                </c:pt>
                <c:pt idx="39">
                  <c:v>44392</c:v>
                </c:pt>
                <c:pt idx="40">
                  <c:v>44393</c:v>
                </c:pt>
                <c:pt idx="41">
                  <c:v>44394</c:v>
                </c:pt>
                <c:pt idx="42">
                  <c:v>44395</c:v>
                </c:pt>
                <c:pt idx="43">
                  <c:v>44396</c:v>
                </c:pt>
                <c:pt idx="44">
                  <c:v>44397</c:v>
                </c:pt>
                <c:pt idx="45">
                  <c:v>44398</c:v>
                </c:pt>
                <c:pt idx="46">
                  <c:v>44399</c:v>
                </c:pt>
                <c:pt idx="47">
                  <c:v>44400</c:v>
                </c:pt>
                <c:pt idx="48">
                  <c:v>44401</c:v>
                </c:pt>
                <c:pt idx="49">
                  <c:v>44402</c:v>
                </c:pt>
                <c:pt idx="50">
                  <c:v>44403</c:v>
                </c:pt>
                <c:pt idx="51">
                  <c:v>44404</c:v>
                </c:pt>
                <c:pt idx="52">
                  <c:v>44405</c:v>
                </c:pt>
                <c:pt idx="53">
                  <c:v>44406</c:v>
                </c:pt>
                <c:pt idx="54">
                  <c:v>44407</c:v>
                </c:pt>
                <c:pt idx="55">
                  <c:v>44408</c:v>
                </c:pt>
                <c:pt idx="56">
                  <c:v>44409</c:v>
                </c:pt>
                <c:pt idx="57">
                  <c:v>44410</c:v>
                </c:pt>
                <c:pt idx="58">
                  <c:v>44411</c:v>
                </c:pt>
                <c:pt idx="59">
                  <c:v>44412</c:v>
                </c:pt>
                <c:pt idx="60">
                  <c:v>44413</c:v>
                </c:pt>
                <c:pt idx="61">
                  <c:v>44414</c:v>
                </c:pt>
                <c:pt idx="62">
                  <c:v>44415</c:v>
                </c:pt>
                <c:pt idx="63">
                  <c:v>44416</c:v>
                </c:pt>
                <c:pt idx="64">
                  <c:v>44417</c:v>
                </c:pt>
                <c:pt idx="65">
                  <c:v>44418</c:v>
                </c:pt>
                <c:pt idx="66">
                  <c:v>44419</c:v>
                </c:pt>
                <c:pt idx="67">
                  <c:v>44420</c:v>
                </c:pt>
                <c:pt idx="68">
                  <c:v>44421</c:v>
                </c:pt>
                <c:pt idx="69">
                  <c:v>44422</c:v>
                </c:pt>
                <c:pt idx="70">
                  <c:v>44423</c:v>
                </c:pt>
                <c:pt idx="71">
                  <c:v>44424</c:v>
                </c:pt>
                <c:pt idx="72">
                  <c:v>44425</c:v>
                </c:pt>
                <c:pt idx="73">
                  <c:v>44426</c:v>
                </c:pt>
                <c:pt idx="74">
                  <c:v>44427</c:v>
                </c:pt>
                <c:pt idx="75">
                  <c:v>44428</c:v>
                </c:pt>
                <c:pt idx="76">
                  <c:v>44429</c:v>
                </c:pt>
                <c:pt idx="77">
                  <c:v>44430</c:v>
                </c:pt>
                <c:pt idx="78">
                  <c:v>44431</c:v>
                </c:pt>
                <c:pt idx="79">
                  <c:v>44432</c:v>
                </c:pt>
                <c:pt idx="80">
                  <c:v>44433</c:v>
                </c:pt>
                <c:pt idx="81">
                  <c:v>44434</c:v>
                </c:pt>
                <c:pt idx="82">
                  <c:v>44435</c:v>
                </c:pt>
                <c:pt idx="83">
                  <c:v>44436</c:v>
                </c:pt>
                <c:pt idx="84">
                  <c:v>44437</c:v>
                </c:pt>
                <c:pt idx="85">
                  <c:v>44438</c:v>
                </c:pt>
                <c:pt idx="86">
                  <c:v>44439</c:v>
                </c:pt>
                <c:pt idx="87">
                  <c:v>44440</c:v>
                </c:pt>
                <c:pt idx="88">
                  <c:v>44441</c:v>
                </c:pt>
                <c:pt idx="89">
                  <c:v>44442</c:v>
                </c:pt>
                <c:pt idx="90">
                  <c:v>44443</c:v>
                </c:pt>
                <c:pt idx="91">
                  <c:v>44444</c:v>
                </c:pt>
                <c:pt idx="92">
                  <c:v>44445</c:v>
                </c:pt>
                <c:pt idx="93">
                  <c:v>44446</c:v>
                </c:pt>
                <c:pt idx="94">
                  <c:v>44447</c:v>
                </c:pt>
                <c:pt idx="95">
                  <c:v>44448</c:v>
                </c:pt>
                <c:pt idx="96">
                  <c:v>44449</c:v>
                </c:pt>
                <c:pt idx="97">
                  <c:v>44450</c:v>
                </c:pt>
                <c:pt idx="98">
                  <c:v>44451</c:v>
                </c:pt>
                <c:pt idx="99">
                  <c:v>44452</c:v>
                </c:pt>
                <c:pt idx="100">
                  <c:v>44453</c:v>
                </c:pt>
                <c:pt idx="101">
                  <c:v>44454</c:v>
                </c:pt>
                <c:pt idx="102">
                  <c:v>44455</c:v>
                </c:pt>
                <c:pt idx="103">
                  <c:v>44456</c:v>
                </c:pt>
                <c:pt idx="104">
                  <c:v>44457</c:v>
                </c:pt>
                <c:pt idx="105">
                  <c:v>44458</c:v>
                </c:pt>
                <c:pt idx="106">
                  <c:v>44459</c:v>
                </c:pt>
                <c:pt idx="107">
                  <c:v>44460</c:v>
                </c:pt>
                <c:pt idx="108">
                  <c:v>44461</c:v>
                </c:pt>
                <c:pt idx="109">
                  <c:v>44462</c:v>
                </c:pt>
                <c:pt idx="110">
                  <c:v>44463</c:v>
                </c:pt>
                <c:pt idx="111">
                  <c:v>44464</c:v>
                </c:pt>
                <c:pt idx="112">
                  <c:v>44465</c:v>
                </c:pt>
                <c:pt idx="113">
                  <c:v>44466</c:v>
                </c:pt>
                <c:pt idx="114">
                  <c:v>44467</c:v>
                </c:pt>
                <c:pt idx="115">
                  <c:v>44468</c:v>
                </c:pt>
                <c:pt idx="116">
                  <c:v>44469</c:v>
                </c:pt>
                <c:pt idx="117">
                  <c:v>44470</c:v>
                </c:pt>
                <c:pt idx="118">
                  <c:v>44471</c:v>
                </c:pt>
                <c:pt idx="119">
                  <c:v>44472</c:v>
                </c:pt>
                <c:pt idx="120">
                  <c:v>44473</c:v>
                </c:pt>
                <c:pt idx="121">
                  <c:v>44474</c:v>
                </c:pt>
                <c:pt idx="122">
                  <c:v>44475</c:v>
                </c:pt>
                <c:pt idx="123">
                  <c:v>44476</c:v>
                </c:pt>
                <c:pt idx="124">
                  <c:v>44477</c:v>
                </c:pt>
                <c:pt idx="125">
                  <c:v>44478</c:v>
                </c:pt>
                <c:pt idx="126">
                  <c:v>44479</c:v>
                </c:pt>
                <c:pt idx="127">
                  <c:v>44480</c:v>
                </c:pt>
                <c:pt idx="128">
                  <c:v>44481</c:v>
                </c:pt>
                <c:pt idx="129">
                  <c:v>44482</c:v>
                </c:pt>
                <c:pt idx="130">
                  <c:v>44483</c:v>
                </c:pt>
                <c:pt idx="131">
                  <c:v>44484</c:v>
                </c:pt>
                <c:pt idx="132">
                  <c:v>44485</c:v>
                </c:pt>
                <c:pt idx="133">
                  <c:v>44486</c:v>
                </c:pt>
                <c:pt idx="134">
                  <c:v>44487</c:v>
                </c:pt>
                <c:pt idx="135">
                  <c:v>44488</c:v>
                </c:pt>
                <c:pt idx="136">
                  <c:v>44489</c:v>
                </c:pt>
                <c:pt idx="137">
                  <c:v>44490</c:v>
                </c:pt>
                <c:pt idx="138">
                  <c:v>44491</c:v>
                </c:pt>
                <c:pt idx="139">
                  <c:v>44492</c:v>
                </c:pt>
                <c:pt idx="140">
                  <c:v>44493</c:v>
                </c:pt>
                <c:pt idx="141">
                  <c:v>44494</c:v>
                </c:pt>
                <c:pt idx="142">
                  <c:v>44495</c:v>
                </c:pt>
                <c:pt idx="143">
                  <c:v>44496</c:v>
                </c:pt>
                <c:pt idx="144">
                  <c:v>44497</c:v>
                </c:pt>
                <c:pt idx="145">
                  <c:v>44498</c:v>
                </c:pt>
                <c:pt idx="146">
                  <c:v>44499</c:v>
                </c:pt>
                <c:pt idx="147">
                  <c:v>44500</c:v>
                </c:pt>
                <c:pt idx="148">
                  <c:v>44501</c:v>
                </c:pt>
                <c:pt idx="149">
                  <c:v>44502</c:v>
                </c:pt>
                <c:pt idx="150">
                  <c:v>44503</c:v>
                </c:pt>
                <c:pt idx="151">
                  <c:v>44504</c:v>
                </c:pt>
                <c:pt idx="152">
                  <c:v>44505</c:v>
                </c:pt>
                <c:pt idx="153">
                  <c:v>44506</c:v>
                </c:pt>
                <c:pt idx="154">
                  <c:v>44507</c:v>
                </c:pt>
                <c:pt idx="155">
                  <c:v>44508</c:v>
                </c:pt>
                <c:pt idx="156">
                  <c:v>44509</c:v>
                </c:pt>
                <c:pt idx="157">
                  <c:v>44510</c:v>
                </c:pt>
                <c:pt idx="158">
                  <c:v>44511</c:v>
                </c:pt>
                <c:pt idx="159">
                  <c:v>44512</c:v>
                </c:pt>
                <c:pt idx="160">
                  <c:v>44513</c:v>
                </c:pt>
                <c:pt idx="161">
                  <c:v>44514</c:v>
                </c:pt>
                <c:pt idx="162">
                  <c:v>44515</c:v>
                </c:pt>
                <c:pt idx="163">
                  <c:v>44516</c:v>
                </c:pt>
                <c:pt idx="164">
                  <c:v>44517</c:v>
                </c:pt>
                <c:pt idx="165">
                  <c:v>44518</c:v>
                </c:pt>
                <c:pt idx="166">
                  <c:v>44519</c:v>
                </c:pt>
                <c:pt idx="167">
                  <c:v>44520</c:v>
                </c:pt>
                <c:pt idx="168">
                  <c:v>44521</c:v>
                </c:pt>
                <c:pt idx="169">
                  <c:v>44522</c:v>
                </c:pt>
                <c:pt idx="170">
                  <c:v>44523</c:v>
                </c:pt>
                <c:pt idx="171">
                  <c:v>44524</c:v>
                </c:pt>
                <c:pt idx="172">
                  <c:v>44525</c:v>
                </c:pt>
                <c:pt idx="173">
                  <c:v>44526</c:v>
                </c:pt>
                <c:pt idx="174">
                  <c:v>44527</c:v>
                </c:pt>
                <c:pt idx="175">
                  <c:v>44528</c:v>
                </c:pt>
                <c:pt idx="176">
                  <c:v>44529</c:v>
                </c:pt>
                <c:pt idx="177">
                  <c:v>44530</c:v>
                </c:pt>
                <c:pt idx="178">
                  <c:v>44531</c:v>
                </c:pt>
                <c:pt idx="179">
                  <c:v>44532</c:v>
                </c:pt>
                <c:pt idx="180">
                  <c:v>44533</c:v>
                </c:pt>
                <c:pt idx="181">
                  <c:v>44534</c:v>
                </c:pt>
                <c:pt idx="182">
                  <c:v>44535</c:v>
                </c:pt>
                <c:pt idx="183">
                  <c:v>44536</c:v>
                </c:pt>
                <c:pt idx="184">
                  <c:v>44537</c:v>
                </c:pt>
                <c:pt idx="185">
                  <c:v>44538</c:v>
                </c:pt>
                <c:pt idx="186">
                  <c:v>44539</c:v>
                </c:pt>
                <c:pt idx="187">
                  <c:v>44540</c:v>
                </c:pt>
                <c:pt idx="188">
                  <c:v>44541</c:v>
                </c:pt>
                <c:pt idx="189">
                  <c:v>44542</c:v>
                </c:pt>
                <c:pt idx="190">
                  <c:v>44543</c:v>
                </c:pt>
                <c:pt idx="191">
                  <c:v>44544</c:v>
                </c:pt>
                <c:pt idx="192">
                  <c:v>44545</c:v>
                </c:pt>
                <c:pt idx="193">
                  <c:v>44546</c:v>
                </c:pt>
                <c:pt idx="194">
                  <c:v>44547</c:v>
                </c:pt>
                <c:pt idx="195">
                  <c:v>44548</c:v>
                </c:pt>
                <c:pt idx="196">
                  <c:v>44549</c:v>
                </c:pt>
                <c:pt idx="197">
                  <c:v>44550</c:v>
                </c:pt>
                <c:pt idx="198">
                  <c:v>44551</c:v>
                </c:pt>
                <c:pt idx="199">
                  <c:v>44552</c:v>
                </c:pt>
                <c:pt idx="200">
                  <c:v>44553</c:v>
                </c:pt>
                <c:pt idx="201">
                  <c:v>44554</c:v>
                </c:pt>
                <c:pt idx="202">
                  <c:v>44555</c:v>
                </c:pt>
                <c:pt idx="203">
                  <c:v>44556</c:v>
                </c:pt>
                <c:pt idx="204">
                  <c:v>44557</c:v>
                </c:pt>
                <c:pt idx="205">
                  <c:v>44558</c:v>
                </c:pt>
                <c:pt idx="206">
                  <c:v>44559</c:v>
                </c:pt>
                <c:pt idx="207">
                  <c:v>44560</c:v>
                </c:pt>
                <c:pt idx="208">
                  <c:v>44561</c:v>
                </c:pt>
                <c:pt idx="209">
                  <c:v>44562</c:v>
                </c:pt>
                <c:pt idx="210">
                  <c:v>44563</c:v>
                </c:pt>
                <c:pt idx="211">
                  <c:v>44564</c:v>
                </c:pt>
                <c:pt idx="212">
                  <c:v>44565</c:v>
                </c:pt>
                <c:pt idx="213">
                  <c:v>44566</c:v>
                </c:pt>
                <c:pt idx="214">
                  <c:v>44567</c:v>
                </c:pt>
                <c:pt idx="215">
                  <c:v>44568</c:v>
                </c:pt>
                <c:pt idx="216">
                  <c:v>44569</c:v>
                </c:pt>
                <c:pt idx="217">
                  <c:v>44570</c:v>
                </c:pt>
                <c:pt idx="218">
                  <c:v>44571</c:v>
                </c:pt>
                <c:pt idx="219">
                  <c:v>44572</c:v>
                </c:pt>
                <c:pt idx="220">
                  <c:v>44573</c:v>
                </c:pt>
                <c:pt idx="221">
                  <c:v>44574</c:v>
                </c:pt>
                <c:pt idx="222">
                  <c:v>44575</c:v>
                </c:pt>
                <c:pt idx="223">
                  <c:v>44576</c:v>
                </c:pt>
                <c:pt idx="224">
                  <c:v>44577</c:v>
                </c:pt>
                <c:pt idx="225">
                  <c:v>44578</c:v>
                </c:pt>
                <c:pt idx="226">
                  <c:v>44579</c:v>
                </c:pt>
                <c:pt idx="227">
                  <c:v>44580</c:v>
                </c:pt>
                <c:pt idx="228">
                  <c:v>44581</c:v>
                </c:pt>
                <c:pt idx="229">
                  <c:v>44582</c:v>
                </c:pt>
                <c:pt idx="230">
                  <c:v>44583</c:v>
                </c:pt>
                <c:pt idx="231">
                  <c:v>44584</c:v>
                </c:pt>
                <c:pt idx="232">
                  <c:v>44585</c:v>
                </c:pt>
                <c:pt idx="233">
                  <c:v>44586</c:v>
                </c:pt>
                <c:pt idx="234">
                  <c:v>44587</c:v>
                </c:pt>
                <c:pt idx="235">
                  <c:v>44588</c:v>
                </c:pt>
                <c:pt idx="236">
                  <c:v>44589</c:v>
                </c:pt>
                <c:pt idx="237">
                  <c:v>44590</c:v>
                </c:pt>
                <c:pt idx="238">
                  <c:v>44591</c:v>
                </c:pt>
                <c:pt idx="239">
                  <c:v>44592</c:v>
                </c:pt>
                <c:pt idx="240">
                  <c:v>44593</c:v>
                </c:pt>
                <c:pt idx="241">
                  <c:v>44594</c:v>
                </c:pt>
                <c:pt idx="242">
                  <c:v>44595</c:v>
                </c:pt>
                <c:pt idx="243">
                  <c:v>44596</c:v>
                </c:pt>
                <c:pt idx="244">
                  <c:v>44597</c:v>
                </c:pt>
                <c:pt idx="245">
                  <c:v>44598</c:v>
                </c:pt>
                <c:pt idx="246">
                  <c:v>44599</c:v>
                </c:pt>
                <c:pt idx="247">
                  <c:v>44600</c:v>
                </c:pt>
                <c:pt idx="248">
                  <c:v>44601</c:v>
                </c:pt>
                <c:pt idx="249">
                  <c:v>44602</c:v>
                </c:pt>
                <c:pt idx="250">
                  <c:v>44603</c:v>
                </c:pt>
                <c:pt idx="251">
                  <c:v>44604</c:v>
                </c:pt>
                <c:pt idx="252">
                  <c:v>44605</c:v>
                </c:pt>
                <c:pt idx="253">
                  <c:v>44606</c:v>
                </c:pt>
                <c:pt idx="254">
                  <c:v>44607</c:v>
                </c:pt>
                <c:pt idx="255">
                  <c:v>44608</c:v>
                </c:pt>
                <c:pt idx="256">
                  <c:v>44609</c:v>
                </c:pt>
                <c:pt idx="257">
                  <c:v>44610</c:v>
                </c:pt>
                <c:pt idx="258">
                  <c:v>44611</c:v>
                </c:pt>
                <c:pt idx="259">
                  <c:v>44612</c:v>
                </c:pt>
                <c:pt idx="260">
                  <c:v>44613</c:v>
                </c:pt>
                <c:pt idx="261">
                  <c:v>44614</c:v>
                </c:pt>
                <c:pt idx="262">
                  <c:v>44615</c:v>
                </c:pt>
                <c:pt idx="263">
                  <c:v>44616</c:v>
                </c:pt>
                <c:pt idx="264">
                  <c:v>44617</c:v>
                </c:pt>
                <c:pt idx="265">
                  <c:v>44618</c:v>
                </c:pt>
                <c:pt idx="266">
                  <c:v>44619</c:v>
                </c:pt>
                <c:pt idx="267">
                  <c:v>44620</c:v>
                </c:pt>
                <c:pt idx="268">
                  <c:v>44621</c:v>
                </c:pt>
                <c:pt idx="269">
                  <c:v>44622</c:v>
                </c:pt>
                <c:pt idx="270">
                  <c:v>44623</c:v>
                </c:pt>
                <c:pt idx="271">
                  <c:v>44624</c:v>
                </c:pt>
                <c:pt idx="272">
                  <c:v>44625</c:v>
                </c:pt>
                <c:pt idx="273">
                  <c:v>44626</c:v>
                </c:pt>
                <c:pt idx="274">
                  <c:v>44627</c:v>
                </c:pt>
                <c:pt idx="275">
                  <c:v>44628</c:v>
                </c:pt>
                <c:pt idx="276">
                  <c:v>44629</c:v>
                </c:pt>
                <c:pt idx="277">
                  <c:v>44630</c:v>
                </c:pt>
                <c:pt idx="278">
                  <c:v>44631</c:v>
                </c:pt>
                <c:pt idx="279">
                  <c:v>44632</c:v>
                </c:pt>
                <c:pt idx="280">
                  <c:v>44633</c:v>
                </c:pt>
                <c:pt idx="281">
                  <c:v>44634</c:v>
                </c:pt>
                <c:pt idx="282">
                  <c:v>44635</c:v>
                </c:pt>
                <c:pt idx="283">
                  <c:v>44636</c:v>
                </c:pt>
                <c:pt idx="284">
                  <c:v>44637</c:v>
                </c:pt>
                <c:pt idx="285">
                  <c:v>44638</c:v>
                </c:pt>
                <c:pt idx="286">
                  <c:v>44639</c:v>
                </c:pt>
                <c:pt idx="287">
                  <c:v>44640</c:v>
                </c:pt>
                <c:pt idx="288">
                  <c:v>44641</c:v>
                </c:pt>
                <c:pt idx="289">
                  <c:v>44642</c:v>
                </c:pt>
                <c:pt idx="290">
                  <c:v>44643</c:v>
                </c:pt>
                <c:pt idx="291">
                  <c:v>44644</c:v>
                </c:pt>
                <c:pt idx="292">
                  <c:v>44645</c:v>
                </c:pt>
                <c:pt idx="293">
                  <c:v>44646</c:v>
                </c:pt>
                <c:pt idx="294">
                  <c:v>44647</c:v>
                </c:pt>
                <c:pt idx="295">
                  <c:v>44648</c:v>
                </c:pt>
                <c:pt idx="296">
                  <c:v>44649</c:v>
                </c:pt>
                <c:pt idx="297">
                  <c:v>44650</c:v>
                </c:pt>
                <c:pt idx="298">
                  <c:v>44651</c:v>
                </c:pt>
                <c:pt idx="299">
                  <c:v>44652</c:v>
                </c:pt>
                <c:pt idx="300">
                  <c:v>44653</c:v>
                </c:pt>
                <c:pt idx="301">
                  <c:v>44654</c:v>
                </c:pt>
                <c:pt idx="302">
                  <c:v>44655</c:v>
                </c:pt>
                <c:pt idx="303">
                  <c:v>44656</c:v>
                </c:pt>
                <c:pt idx="304">
                  <c:v>44657</c:v>
                </c:pt>
                <c:pt idx="305">
                  <c:v>44658</c:v>
                </c:pt>
                <c:pt idx="306">
                  <c:v>44659</c:v>
                </c:pt>
                <c:pt idx="307">
                  <c:v>44660</c:v>
                </c:pt>
                <c:pt idx="308">
                  <c:v>44661</c:v>
                </c:pt>
                <c:pt idx="309">
                  <c:v>44662</c:v>
                </c:pt>
                <c:pt idx="310">
                  <c:v>44663</c:v>
                </c:pt>
                <c:pt idx="311">
                  <c:v>44664</c:v>
                </c:pt>
                <c:pt idx="312">
                  <c:v>44665</c:v>
                </c:pt>
                <c:pt idx="313">
                  <c:v>44666</c:v>
                </c:pt>
                <c:pt idx="314">
                  <c:v>44667</c:v>
                </c:pt>
                <c:pt idx="315">
                  <c:v>44668</c:v>
                </c:pt>
                <c:pt idx="316">
                  <c:v>44669</c:v>
                </c:pt>
                <c:pt idx="317">
                  <c:v>44670</c:v>
                </c:pt>
                <c:pt idx="318">
                  <c:v>44671</c:v>
                </c:pt>
                <c:pt idx="319">
                  <c:v>44672</c:v>
                </c:pt>
                <c:pt idx="320">
                  <c:v>44673</c:v>
                </c:pt>
                <c:pt idx="321">
                  <c:v>44674</c:v>
                </c:pt>
                <c:pt idx="322">
                  <c:v>44675</c:v>
                </c:pt>
                <c:pt idx="323">
                  <c:v>44676</c:v>
                </c:pt>
                <c:pt idx="324">
                  <c:v>44677</c:v>
                </c:pt>
                <c:pt idx="325">
                  <c:v>44678</c:v>
                </c:pt>
                <c:pt idx="326">
                  <c:v>44679</c:v>
                </c:pt>
                <c:pt idx="327">
                  <c:v>44680</c:v>
                </c:pt>
                <c:pt idx="328">
                  <c:v>44681</c:v>
                </c:pt>
                <c:pt idx="329">
                  <c:v>44682</c:v>
                </c:pt>
                <c:pt idx="330">
                  <c:v>44683</c:v>
                </c:pt>
                <c:pt idx="331">
                  <c:v>44684</c:v>
                </c:pt>
                <c:pt idx="332">
                  <c:v>44685</c:v>
                </c:pt>
                <c:pt idx="333">
                  <c:v>44686</c:v>
                </c:pt>
                <c:pt idx="334">
                  <c:v>44687</c:v>
                </c:pt>
                <c:pt idx="335">
                  <c:v>44688</c:v>
                </c:pt>
                <c:pt idx="336">
                  <c:v>44689</c:v>
                </c:pt>
                <c:pt idx="337">
                  <c:v>44690</c:v>
                </c:pt>
                <c:pt idx="338">
                  <c:v>44691</c:v>
                </c:pt>
                <c:pt idx="339">
                  <c:v>44692</c:v>
                </c:pt>
                <c:pt idx="340">
                  <c:v>44693</c:v>
                </c:pt>
                <c:pt idx="341">
                  <c:v>44694</c:v>
                </c:pt>
                <c:pt idx="342">
                  <c:v>44695</c:v>
                </c:pt>
                <c:pt idx="343">
                  <c:v>44696</c:v>
                </c:pt>
                <c:pt idx="344">
                  <c:v>44697</c:v>
                </c:pt>
                <c:pt idx="345">
                  <c:v>44698</c:v>
                </c:pt>
                <c:pt idx="346">
                  <c:v>44699</c:v>
                </c:pt>
                <c:pt idx="347">
                  <c:v>44700</c:v>
                </c:pt>
                <c:pt idx="348">
                  <c:v>44701</c:v>
                </c:pt>
                <c:pt idx="349">
                  <c:v>44702</c:v>
                </c:pt>
                <c:pt idx="350">
                  <c:v>44703</c:v>
                </c:pt>
                <c:pt idx="351">
                  <c:v>44704</c:v>
                </c:pt>
                <c:pt idx="352">
                  <c:v>44705</c:v>
                </c:pt>
                <c:pt idx="353">
                  <c:v>44706</c:v>
                </c:pt>
                <c:pt idx="354">
                  <c:v>44707</c:v>
                </c:pt>
                <c:pt idx="355">
                  <c:v>44708</c:v>
                </c:pt>
                <c:pt idx="356">
                  <c:v>44709</c:v>
                </c:pt>
                <c:pt idx="357">
                  <c:v>44710</c:v>
                </c:pt>
                <c:pt idx="358">
                  <c:v>44711</c:v>
                </c:pt>
                <c:pt idx="359">
                  <c:v>44712</c:v>
                </c:pt>
                <c:pt idx="360">
                  <c:v>44713</c:v>
                </c:pt>
                <c:pt idx="361">
                  <c:v>44714</c:v>
                </c:pt>
                <c:pt idx="362">
                  <c:v>44715</c:v>
                </c:pt>
                <c:pt idx="363">
                  <c:v>44716</c:v>
                </c:pt>
                <c:pt idx="364">
                  <c:v>44717</c:v>
                </c:pt>
                <c:pt idx="365">
                  <c:v>44718</c:v>
                </c:pt>
                <c:pt idx="366">
                  <c:v>44719</c:v>
                </c:pt>
                <c:pt idx="367">
                  <c:v>44720</c:v>
                </c:pt>
                <c:pt idx="368">
                  <c:v>44721</c:v>
                </c:pt>
                <c:pt idx="369">
                  <c:v>44722</c:v>
                </c:pt>
                <c:pt idx="370">
                  <c:v>44723</c:v>
                </c:pt>
                <c:pt idx="371">
                  <c:v>44724</c:v>
                </c:pt>
                <c:pt idx="372">
                  <c:v>44725</c:v>
                </c:pt>
                <c:pt idx="373">
                  <c:v>44726</c:v>
                </c:pt>
                <c:pt idx="374">
                  <c:v>44727</c:v>
                </c:pt>
                <c:pt idx="375">
                  <c:v>44728</c:v>
                </c:pt>
                <c:pt idx="376">
                  <c:v>44729</c:v>
                </c:pt>
                <c:pt idx="377">
                  <c:v>44730</c:v>
                </c:pt>
                <c:pt idx="378">
                  <c:v>44731</c:v>
                </c:pt>
                <c:pt idx="379">
                  <c:v>44732</c:v>
                </c:pt>
                <c:pt idx="380">
                  <c:v>44733</c:v>
                </c:pt>
                <c:pt idx="381">
                  <c:v>44734</c:v>
                </c:pt>
                <c:pt idx="382">
                  <c:v>44735</c:v>
                </c:pt>
                <c:pt idx="383">
                  <c:v>44736</c:v>
                </c:pt>
                <c:pt idx="384">
                  <c:v>44737</c:v>
                </c:pt>
                <c:pt idx="385">
                  <c:v>44738</c:v>
                </c:pt>
                <c:pt idx="386">
                  <c:v>44739</c:v>
                </c:pt>
                <c:pt idx="387">
                  <c:v>44740</c:v>
                </c:pt>
                <c:pt idx="388">
                  <c:v>44741</c:v>
                </c:pt>
                <c:pt idx="389">
                  <c:v>44742</c:v>
                </c:pt>
                <c:pt idx="390">
                  <c:v>44743</c:v>
                </c:pt>
                <c:pt idx="391">
                  <c:v>44744</c:v>
                </c:pt>
                <c:pt idx="392">
                  <c:v>44745</c:v>
                </c:pt>
                <c:pt idx="393">
                  <c:v>44746</c:v>
                </c:pt>
                <c:pt idx="394">
                  <c:v>44747</c:v>
                </c:pt>
                <c:pt idx="395">
                  <c:v>44748</c:v>
                </c:pt>
                <c:pt idx="396">
                  <c:v>44749</c:v>
                </c:pt>
                <c:pt idx="397">
                  <c:v>44750</c:v>
                </c:pt>
                <c:pt idx="398">
                  <c:v>44751</c:v>
                </c:pt>
                <c:pt idx="399">
                  <c:v>44752</c:v>
                </c:pt>
                <c:pt idx="400">
                  <c:v>44753</c:v>
                </c:pt>
                <c:pt idx="401">
                  <c:v>44754</c:v>
                </c:pt>
                <c:pt idx="402">
                  <c:v>44755</c:v>
                </c:pt>
                <c:pt idx="403">
                  <c:v>44756</c:v>
                </c:pt>
                <c:pt idx="404">
                  <c:v>44757</c:v>
                </c:pt>
                <c:pt idx="405">
                  <c:v>44758</c:v>
                </c:pt>
                <c:pt idx="406">
                  <c:v>44759</c:v>
                </c:pt>
                <c:pt idx="407">
                  <c:v>44760</c:v>
                </c:pt>
                <c:pt idx="408">
                  <c:v>44761</c:v>
                </c:pt>
                <c:pt idx="409">
                  <c:v>44762</c:v>
                </c:pt>
                <c:pt idx="410">
                  <c:v>44763</c:v>
                </c:pt>
                <c:pt idx="411">
                  <c:v>44764</c:v>
                </c:pt>
                <c:pt idx="412">
                  <c:v>44765</c:v>
                </c:pt>
                <c:pt idx="413">
                  <c:v>44766</c:v>
                </c:pt>
                <c:pt idx="414">
                  <c:v>44767</c:v>
                </c:pt>
                <c:pt idx="415">
                  <c:v>44768</c:v>
                </c:pt>
                <c:pt idx="416">
                  <c:v>44769</c:v>
                </c:pt>
                <c:pt idx="417">
                  <c:v>44770</c:v>
                </c:pt>
                <c:pt idx="418">
                  <c:v>44771</c:v>
                </c:pt>
                <c:pt idx="419">
                  <c:v>44772</c:v>
                </c:pt>
                <c:pt idx="420">
                  <c:v>44773</c:v>
                </c:pt>
                <c:pt idx="421">
                  <c:v>44774</c:v>
                </c:pt>
                <c:pt idx="422">
                  <c:v>44775</c:v>
                </c:pt>
                <c:pt idx="423">
                  <c:v>44776</c:v>
                </c:pt>
                <c:pt idx="424">
                  <c:v>44777</c:v>
                </c:pt>
                <c:pt idx="425">
                  <c:v>44778</c:v>
                </c:pt>
                <c:pt idx="426">
                  <c:v>44779</c:v>
                </c:pt>
                <c:pt idx="427">
                  <c:v>44780</c:v>
                </c:pt>
                <c:pt idx="428">
                  <c:v>44781</c:v>
                </c:pt>
                <c:pt idx="429">
                  <c:v>44782</c:v>
                </c:pt>
                <c:pt idx="430">
                  <c:v>44783</c:v>
                </c:pt>
                <c:pt idx="431">
                  <c:v>44784</c:v>
                </c:pt>
                <c:pt idx="432">
                  <c:v>44785</c:v>
                </c:pt>
                <c:pt idx="433">
                  <c:v>44786</c:v>
                </c:pt>
                <c:pt idx="434">
                  <c:v>44787</c:v>
                </c:pt>
                <c:pt idx="435">
                  <c:v>44788</c:v>
                </c:pt>
                <c:pt idx="436">
                  <c:v>44789</c:v>
                </c:pt>
                <c:pt idx="437">
                  <c:v>44790</c:v>
                </c:pt>
                <c:pt idx="438">
                  <c:v>44791</c:v>
                </c:pt>
                <c:pt idx="439">
                  <c:v>44792</c:v>
                </c:pt>
                <c:pt idx="440">
                  <c:v>44793</c:v>
                </c:pt>
                <c:pt idx="441">
                  <c:v>44794</c:v>
                </c:pt>
                <c:pt idx="442">
                  <c:v>44795</c:v>
                </c:pt>
                <c:pt idx="443">
                  <c:v>44796</c:v>
                </c:pt>
                <c:pt idx="444">
                  <c:v>44797</c:v>
                </c:pt>
                <c:pt idx="445">
                  <c:v>44798</c:v>
                </c:pt>
                <c:pt idx="446">
                  <c:v>44799</c:v>
                </c:pt>
                <c:pt idx="447">
                  <c:v>44800</c:v>
                </c:pt>
                <c:pt idx="448">
                  <c:v>44801</c:v>
                </c:pt>
                <c:pt idx="449">
                  <c:v>44802</c:v>
                </c:pt>
                <c:pt idx="450">
                  <c:v>44803</c:v>
                </c:pt>
                <c:pt idx="451">
                  <c:v>44804</c:v>
                </c:pt>
                <c:pt idx="452">
                  <c:v>44805</c:v>
                </c:pt>
                <c:pt idx="453">
                  <c:v>44806</c:v>
                </c:pt>
                <c:pt idx="454">
                  <c:v>44807</c:v>
                </c:pt>
                <c:pt idx="455">
                  <c:v>44808</c:v>
                </c:pt>
                <c:pt idx="456">
                  <c:v>44809</c:v>
                </c:pt>
                <c:pt idx="457">
                  <c:v>44810</c:v>
                </c:pt>
                <c:pt idx="458">
                  <c:v>44811</c:v>
                </c:pt>
                <c:pt idx="459">
                  <c:v>44812</c:v>
                </c:pt>
                <c:pt idx="460">
                  <c:v>44813</c:v>
                </c:pt>
                <c:pt idx="461">
                  <c:v>44814</c:v>
                </c:pt>
                <c:pt idx="462">
                  <c:v>44815</c:v>
                </c:pt>
                <c:pt idx="463">
                  <c:v>44816</c:v>
                </c:pt>
                <c:pt idx="464">
                  <c:v>44817</c:v>
                </c:pt>
                <c:pt idx="465">
                  <c:v>44818</c:v>
                </c:pt>
                <c:pt idx="466">
                  <c:v>44819</c:v>
                </c:pt>
                <c:pt idx="467">
                  <c:v>44820</c:v>
                </c:pt>
                <c:pt idx="468">
                  <c:v>44821</c:v>
                </c:pt>
                <c:pt idx="469">
                  <c:v>44822</c:v>
                </c:pt>
                <c:pt idx="470">
                  <c:v>44823</c:v>
                </c:pt>
                <c:pt idx="471">
                  <c:v>44824</c:v>
                </c:pt>
                <c:pt idx="472">
                  <c:v>44825</c:v>
                </c:pt>
                <c:pt idx="473">
                  <c:v>44826</c:v>
                </c:pt>
                <c:pt idx="474">
                  <c:v>44827</c:v>
                </c:pt>
                <c:pt idx="475">
                  <c:v>44828</c:v>
                </c:pt>
                <c:pt idx="476">
                  <c:v>44829</c:v>
                </c:pt>
                <c:pt idx="477">
                  <c:v>44830</c:v>
                </c:pt>
                <c:pt idx="478">
                  <c:v>44831</c:v>
                </c:pt>
                <c:pt idx="479">
                  <c:v>44832</c:v>
                </c:pt>
                <c:pt idx="480">
                  <c:v>44833</c:v>
                </c:pt>
                <c:pt idx="481">
                  <c:v>44834</c:v>
                </c:pt>
                <c:pt idx="482">
                  <c:v>44835</c:v>
                </c:pt>
                <c:pt idx="483">
                  <c:v>44836</c:v>
                </c:pt>
                <c:pt idx="484">
                  <c:v>44837</c:v>
                </c:pt>
                <c:pt idx="485">
                  <c:v>44838</c:v>
                </c:pt>
                <c:pt idx="486">
                  <c:v>44839</c:v>
                </c:pt>
                <c:pt idx="487">
                  <c:v>44840</c:v>
                </c:pt>
                <c:pt idx="488">
                  <c:v>44841</c:v>
                </c:pt>
                <c:pt idx="489">
                  <c:v>44842</c:v>
                </c:pt>
                <c:pt idx="490">
                  <c:v>44843</c:v>
                </c:pt>
                <c:pt idx="491">
                  <c:v>44844</c:v>
                </c:pt>
                <c:pt idx="492">
                  <c:v>44845</c:v>
                </c:pt>
                <c:pt idx="493">
                  <c:v>44846</c:v>
                </c:pt>
                <c:pt idx="494">
                  <c:v>44847</c:v>
                </c:pt>
                <c:pt idx="495">
                  <c:v>44848</c:v>
                </c:pt>
                <c:pt idx="496">
                  <c:v>44849</c:v>
                </c:pt>
                <c:pt idx="497">
                  <c:v>44850</c:v>
                </c:pt>
                <c:pt idx="498">
                  <c:v>44851</c:v>
                </c:pt>
                <c:pt idx="499">
                  <c:v>44852</c:v>
                </c:pt>
                <c:pt idx="500">
                  <c:v>44853</c:v>
                </c:pt>
                <c:pt idx="501">
                  <c:v>44854</c:v>
                </c:pt>
                <c:pt idx="502">
                  <c:v>44855</c:v>
                </c:pt>
                <c:pt idx="503">
                  <c:v>44856</c:v>
                </c:pt>
                <c:pt idx="504">
                  <c:v>44857</c:v>
                </c:pt>
                <c:pt idx="505">
                  <c:v>44858</c:v>
                </c:pt>
                <c:pt idx="506">
                  <c:v>44859</c:v>
                </c:pt>
                <c:pt idx="507">
                  <c:v>44860</c:v>
                </c:pt>
                <c:pt idx="508">
                  <c:v>44861</c:v>
                </c:pt>
                <c:pt idx="509">
                  <c:v>44862</c:v>
                </c:pt>
                <c:pt idx="510">
                  <c:v>44863</c:v>
                </c:pt>
                <c:pt idx="511">
                  <c:v>44864</c:v>
                </c:pt>
                <c:pt idx="512">
                  <c:v>44865</c:v>
                </c:pt>
                <c:pt idx="513">
                  <c:v>44866</c:v>
                </c:pt>
                <c:pt idx="514">
                  <c:v>44867</c:v>
                </c:pt>
                <c:pt idx="515">
                  <c:v>44868</c:v>
                </c:pt>
                <c:pt idx="516">
                  <c:v>44869</c:v>
                </c:pt>
                <c:pt idx="517">
                  <c:v>44870</c:v>
                </c:pt>
                <c:pt idx="518">
                  <c:v>44871</c:v>
                </c:pt>
                <c:pt idx="519">
                  <c:v>44872</c:v>
                </c:pt>
                <c:pt idx="520">
                  <c:v>44873</c:v>
                </c:pt>
                <c:pt idx="521">
                  <c:v>44874</c:v>
                </c:pt>
                <c:pt idx="522">
                  <c:v>44875</c:v>
                </c:pt>
                <c:pt idx="523">
                  <c:v>44876</c:v>
                </c:pt>
                <c:pt idx="524">
                  <c:v>44877</c:v>
                </c:pt>
                <c:pt idx="525">
                  <c:v>44878</c:v>
                </c:pt>
                <c:pt idx="526">
                  <c:v>44879</c:v>
                </c:pt>
                <c:pt idx="527">
                  <c:v>44880</c:v>
                </c:pt>
                <c:pt idx="528">
                  <c:v>44881</c:v>
                </c:pt>
                <c:pt idx="529">
                  <c:v>44882</c:v>
                </c:pt>
                <c:pt idx="530">
                  <c:v>44883</c:v>
                </c:pt>
                <c:pt idx="531">
                  <c:v>44884</c:v>
                </c:pt>
                <c:pt idx="532">
                  <c:v>44885</c:v>
                </c:pt>
                <c:pt idx="533">
                  <c:v>44886</c:v>
                </c:pt>
                <c:pt idx="534">
                  <c:v>44887</c:v>
                </c:pt>
                <c:pt idx="535">
                  <c:v>44888</c:v>
                </c:pt>
                <c:pt idx="536">
                  <c:v>44889</c:v>
                </c:pt>
                <c:pt idx="537">
                  <c:v>44890</c:v>
                </c:pt>
                <c:pt idx="538">
                  <c:v>44891</c:v>
                </c:pt>
                <c:pt idx="539">
                  <c:v>44892</c:v>
                </c:pt>
                <c:pt idx="540">
                  <c:v>44893</c:v>
                </c:pt>
                <c:pt idx="541">
                  <c:v>44894</c:v>
                </c:pt>
                <c:pt idx="542">
                  <c:v>44895</c:v>
                </c:pt>
                <c:pt idx="543">
                  <c:v>44896</c:v>
                </c:pt>
                <c:pt idx="544">
                  <c:v>44897</c:v>
                </c:pt>
                <c:pt idx="545">
                  <c:v>44898</c:v>
                </c:pt>
                <c:pt idx="546">
                  <c:v>44899</c:v>
                </c:pt>
                <c:pt idx="547">
                  <c:v>44900</c:v>
                </c:pt>
                <c:pt idx="548">
                  <c:v>44901</c:v>
                </c:pt>
                <c:pt idx="549">
                  <c:v>44902</c:v>
                </c:pt>
                <c:pt idx="550">
                  <c:v>44903</c:v>
                </c:pt>
                <c:pt idx="551">
                  <c:v>44904</c:v>
                </c:pt>
                <c:pt idx="552">
                  <c:v>44905</c:v>
                </c:pt>
                <c:pt idx="553">
                  <c:v>44906</c:v>
                </c:pt>
                <c:pt idx="554">
                  <c:v>44907</c:v>
                </c:pt>
                <c:pt idx="555">
                  <c:v>44908</c:v>
                </c:pt>
                <c:pt idx="556">
                  <c:v>44909</c:v>
                </c:pt>
                <c:pt idx="557">
                  <c:v>44910</c:v>
                </c:pt>
                <c:pt idx="558">
                  <c:v>44911</c:v>
                </c:pt>
                <c:pt idx="559">
                  <c:v>44912</c:v>
                </c:pt>
                <c:pt idx="560">
                  <c:v>44913</c:v>
                </c:pt>
                <c:pt idx="561">
                  <c:v>44914</c:v>
                </c:pt>
                <c:pt idx="562">
                  <c:v>44915</c:v>
                </c:pt>
                <c:pt idx="563">
                  <c:v>44916</c:v>
                </c:pt>
                <c:pt idx="564">
                  <c:v>44917</c:v>
                </c:pt>
                <c:pt idx="565">
                  <c:v>44918</c:v>
                </c:pt>
                <c:pt idx="566">
                  <c:v>44919</c:v>
                </c:pt>
                <c:pt idx="567">
                  <c:v>44920</c:v>
                </c:pt>
                <c:pt idx="568">
                  <c:v>44921</c:v>
                </c:pt>
                <c:pt idx="569">
                  <c:v>44922</c:v>
                </c:pt>
                <c:pt idx="570">
                  <c:v>44923</c:v>
                </c:pt>
                <c:pt idx="571">
                  <c:v>44924</c:v>
                </c:pt>
                <c:pt idx="572">
                  <c:v>44925</c:v>
                </c:pt>
                <c:pt idx="573">
                  <c:v>44926</c:v>
                </c:pt>
                <c:pt idx="574">
                  <c:v>44927</c:v>
                </c:pt>
                <c:pt idx="575">
                  <c:v>44928</c:v>
                </c:pt>
                <c:pt idx="576">
                  <c:v>44929</c:v>
                </c:pt>
                <c:pt idx="577">
                  <c:v>44930</c:v>
                </c:pt>
                <c:pt idx="578">
                  <c:v>44931</c:v>
                </c:pt>
                <c:pt idx="579">
                  <c:v>44932</c:v>
                </c:pt>
                <c:pt idx="580">
                  <c:v>44933</c:v>
                </c:pt>
                <c:pt idx="581">
                  <c:v>44934</c:v>
                </c:pt>
                <c:pt idx="582">
                  <c:v>44935</c:v>
                </c:pt>
                <c:pt idx="583">
                  <c:v>44936</c:v>
                </c:pt>
                <c:pt idx="584">
                  <c:v>44937</c:v>
                </c:pt>
                <c:pt idx="585">
                  <c:v>44938</c:v>
                </c:pt>
                <c:pt idx="586">
                  <c:v>44939</c:v>
                </c:pt>
                <c:pt idx="587">
                  <c:v>44940</c:v>
                </c:pt>
                <c:pt idx="588">
                  <c:v>44941</c:v>
                </c:pt>
                <c:pt idx="589">
                  <c:v>44942</c:v>
                </c:pt>
                <c:pt idx="590">
                  <c:v>44943</c:v>
                </c:pt>
                <c:pt idx="591">
                  <c:v>44944</c:v>
                </c:pt>
                <c:pt idx="592">
                  <c:v>44945</c:v>
                </c:pt>
                <c:pt idx="593">
                  <c:v>44946</c:v>
                </c:pt>
                <c:pt idx="594">
                  <c:v>44947</c:v>
                </c:pt>
                <c:pt idx="595">
                  <c:v>44948</c:v>
                </c:pt>
                <c:pt idx="596">
                  <c:v>44949</c:v>
                </c:pt>
                <c:pt idx="597">
                  <c:v>44950</c:v>
                </c:pt>
                <c:pt idx="598">
                  <c:v>44951</c:v>
                </c:pt>
                <c:pt idx="599">
                  <c:v>44952</c:v>
                </c:pt>
                <c:pt idx="600">
                  <c:v>44953</c:v>
                </c:pt>
                <c:pt idx="601">
                  <c:v>44954</c:v>
                </c:pt>
                <c:pt idx="602">
                  <c:v>44955</c:v>
                </c:pt>
                <c:pt idx="603">
                  <c:v>44956</c:v>
                </c:pt>
                <c:pt idx="604">
                  <c:v>44957</c:v>
                </c:pt>
                <c:pt idx="605">
                  <c:v>44958</c:v>
                </c:pt>
                <c:pt idx="606">
                  <c:v>44959</c:v>
                </c:pt>
                <c:pt idx="607">
                  <c:v>44960</c:v>
                </c:pt>
                <c:pt idx="608">
                  <c:v>44961</c:v>
                </c:pt>
                <c:pt idx="609">
                  <c:v>44962</c:v>
                </c:pt>
                <c:pt idx="610">
                  <c:v>44963</c:v>
                </c:pt>
                <c:pt idx="611">
                  <c:v>44964</c:v>
                </c:pt>
                <c:pt idx="612">
                  <c:v>44965</c:v>
                </c:pt>
                <c:pt idx="613">
                  <c:v>44966</c:v>
                </c:pt>
                <c:pt idx="614">
                  <c:v>44967</c:v>
                </c:pt>
                <c:pt idx="615">
                  <c:v>44968</c:v>
                </c:pt>
                <c:pt idx="616">
                  <c:v>44969</c:v>
                </c:pt>
                <c:pt idx="617">
                  <c:v>44970</c:v>
                </c:pt>
                <c:pt idx="618">
                  <c:v>44971</c:v>
                </c:pt>
                <c:pt idx="619">
                  <c:v>44972</c:v>
                </c:pt>
                <c:pt idx="620">
                  <c:v>44973</c:v>
                </c:pt>
                <c:pt idx="621">
                  <c:v>44974</c:v>
                </c:pt>
                <c:pt idx="622">
                  <c:v>44975</c:v>
                </c:pt>
                <c:pt idx="623">
                  <c:v>44976</c:v>
                </c:pt>
                <c:pt idx="624">
                  <c:v>44977</c:v>
                </c:pt>
                <c:pt idx="625">
                  <c:v>44978</c:v>
                </c:pt>
                <c:pt idx="626">
                  <c:v>44979</c:v>
                </c:pt>
                <c:pt idx="627">
                  <c:v>44980</c:v>
                </c:pt>
                <c:pt idx="628">
                  <c:v>44981</c:v>
                </c:pt>
                <c:pt idx="629">
                  <c:v>44982</c:v>
                </c:pt>
                <c:pt idx="630">
                  <c:v>44983</c:v>
                </c:pt>
                <c:pt idx="631">
                  <c:v>44984</c:v>
                </c:pt>
                <c:pt idx="632">
                  <c:v>44985</c:v>
                </c:pt>
                <c:pt idx="633">
                  <c:v>44986</c:v>
                </c:pt>
                <c:pt idx="634">
                  <c:v>44987</c:v>
                </c:pt>
                <c:pt idx="635">
                  <c:v>44988</c:v>
                </c:pt>
                <c:pt idx="636">
                  <c:v>44989</c:v>
                </c:pt>
                <c:pt idx="637">
                  <c:v>44990</c:v>
                </c:pt>
                <c:pt idx="638">
                  <c:v>44991</c:v>
                </c:pt>
                <c:pt idx="639">
                  <c:v>44992</c:v>
                </c:pt>
                <c:pt idx="640">
                  <c:v>44993</c:v>
                </c:pt>
                <c:pt idx="641">
                  <c:v>44994</c:v>
                </c:pt>
                <c:pt idx="642">
                  <c:v>44995</c:v>
                </c:pt>
                <c:pt idx="643">
                  <c:v>44996</c:v>
                </c:pt>
                <c:pt idx="644">
                  <c:v>44997</c:v>
                </c:pt>
                <c:pt idx="645">
                  <c:v>44998</c:v>
                </c:pt>
                <c:pt idx="646">
                  <c:v>44999</c:v>
                </c:pt>
                <c:pt idx="647">
                  <c:v>45000</c:v>
                </c:pt>
                <c:pt idx="648">
                  <c:v>45001</c:v>
                </c:pt>
                <c:pt idx="649">
                  <c:v>45002</c:v>
                </c:pt>
                <c:pt idx="650">
                  <c:v>45003</c:v>
                </c:pt>
                <c:pt idx="651">
                  <c:v>45004</c:v>
                </c:pt>
                <c:pt idx="652">
                  <c:v>45005</c:v>
                </c:pt>
                <c:pt idx="653">
                  <c:v>45006</c:v>
                </c:pt>
                <c:pt idx="654">
                  <c:v>45007</c:v>
                </c:pt>
                <c:pt idx="655">
                  <c:v>45008</c:v>
                </c:pt>
                <c:pt idx="656">
                  <c:v>45009</c:v>
                </c:pt>
                <c:pt idx="657">
                  <c:v>45010</c:v>
                </c:pt>
                <c:pt idx="658">
                  <c:v>45011</c:v>
                </c:pt>
                <c:pt idx="659">
                  <c:v>45012</c:v>
                </c:pt>
                <c:pt idx="660">
                  <c:v>45013</c:v>
                </c:pt>
                <c:pt idx="661">
                  <c:v>45014</c:v>
                </c:pt>
                <c:pt idx="662">
                  <c:v>45015</c:v>
                </c:pt>
                <c:pt idx="663">
                  <c:v>45016</c:v>
                </c:pt>
                <c:pt idx="664">
                  <c:v>45017</c:v>
                </c:pt>
                <c:pt idx="665">
                  <c:v>45018</c:v>
                </c:pt>
                <c:pt idx="666">
                  <c:v>45019</c:v>
                </c:pt>
                <c:pt idx="667">
                  <c:v>45020</c:v>
                </c:pt>
                <c:pt idx="668">
                  <c:v>45021</c:v>
                </c:pt>
                <c:pt idx="669">
                  <c:v>45022</c:v>
                </c:pt>
                <c:pt idx="670">
                  <c:v>45023</c:v>
                </c:pt>
                <c:pt idx="671">
                  <c:v>45024</c:v>
                </c:pt>
                <c:pt idx="672">
                  <c:v>45025</c:v>
                </c:pt>
                <c:pt idx="673">
                  <c:v>45026</c:v>
                </c:pt>
                <c:pt idx="674">
                  <c:v>45027</c:v>
                </c:pt>
                <c:pt idx="675">
                  <c:v>45028</c:v>
                </c:pt>
                <c:pt idx="676">
                  <c:v>45029</c:v>
                </c:pt>
                <c:pt idx="677">
                  <c:v>45030</c:v>
                </c:pt>
                <c:pt idx="678">
                  <c:v>45031</c:v>
                </c:pt>
                <c:pt idx="679">
                  <c:v>45032</c:v>
                </c:pt>
                <c:pt idx="680">
                  <c:v>45033</c:v>
                </c:pt>
                <c:pt idx="681">
                  <c:v>45034</c:v>
                </c:pt>
                <c:pt idx="682">
                  <c:v>45035</c:v>
                </c:pt>
                <c:pt idx="683">
                  <c:v>45036</c:v>
                </c:pt>
                <c:pt idx="684">
                  <c:v>45037</c:v>
                </c:pt>
                <c:pt idx="685">
                  <c:v>45038</c:v>
                </c:pt>
                <c:pt idx="686">
                  <c:v>45039</c:v>
                </c:pt>
                <c:pt idx="687">
                  <c:v>45040</c:v>
                </c:pt>
                <c:pt idx="688">
                  <c:v>45041</c:v>
                </c:pt>
                <c:pt idx="689">
                  <c:v>45042</c:v>
                </c:pt>
                <c:pt idx="690">
                  <c:v>45043</c:v>
                </c:pt>
                <c:pt idx="691">
                  <c:v>45044</c:v>
                </c:pt>
                <c:pt idx="692">
                  <c:v>45045</c:v>
                </c:pt>
                <c:pt idx="693">
                  <c:v>45046</c:v>
                </c:pt>
                <c:pt idx="694">
                  <c:v>45047</c:v>
                </c:pt>
                <c:pt idx="695">
                  <c:v>45048</c:v>
                </c:pt>
                <c:pt idx="696">
                  <c:v>45049</c:v>
                </c:pt>
                <c:pt idx="697">
                  <c:v>45050</c:v>
                </c:pt>
                <c:pt idx="698">
                  <c:v>45051</c:v>
                </c:pt>
                <c:pt idx="699">
                  <c:v>45052</c:v>
                </c:pt>
                <c:pt idx="700">
                  <c:v>45053</c:v>
                </c:pt>
                <c:pt idx="701">
                  <c:v>45054</c:v>
                </c:pt>
                <c:pt idx="702">
                  <c:v>45055</c:v>
                </c:pt>
                <c:pt idx="703">
                  <c:v>45056</c:v>
                </c:pt>
                <c:pt idx="704">
                  <c:v>45057</c:v>
                </c:pt>
                <c:pt idx="705">
                  <c:v>45058</c:v>
                </c:pt>
                <c:pt idx="706">
                  <c:v>45059</c:v>
                </c:pt>
                <c:pt idx="707">
                  <c:v>45060</c:v>
                </c:pt>
                <c:pt idx="708">
                  <c:v>45061</c:v>
                </c:pt>
                <c:pt idx="709">
                  <c:v>45062</c:v>
                </c:pt>
                <c:pt idx="710">
                  <c:v>45063</c:v>
                </c:pt>
                <c:pt idx="711">
                  <c:v>45064</c:v>
                </c:pt>
                <c:pt idx="712">
                  <c:v>45065</c:v>
                </c:pt>
                <c:pt idx="713">
                  <c:v>45066</c:v>
                </c:pt>
                <c:pt idx="714">
                  <c:v>45067</c:v>
                </c:pt>
                <c:pt idx="715">
                  <c:v>45068</c:v>
                </c:pt>
                <c:pt idx="716">
                  <c:v>45069</c:v>
                </c:pt>
                <c:pt idx="717">
                  <c:v>45070</c:v>
                </c:pt>
                <c:pt idx="718">
                  <c:v>45071</c:v>
                </c:pt>
                <c:pt idx="719">
                  <c:v>45072</c:v>
                </c:pt>
                <c:pt idx="720">
                  <c:v>45073</c:v>
                </c:pt>
                <c:pt idx="721">
                  <c:v>45074</c:v>
                </c:pt>
                <c:pt idx="722">
                  <c:v>45075</c:v>
                </c:pt>
                <c:pt idx="723">
                  <c:v>45076</c:v>
                </c:pt>
                <c:pt idx="724">
                  <c:v>45077</c:v>
                </c:pt>
                <c:pt idx="725">
                  <c:v>45078</c:v>
                </c:pt>
                <c:pt idx="726">
                  <c:v>45079</c:v>
                </c:pt>
                <c:pt idx="727">
                  <c:v>45080</c:v>
                </c:pt>
                <c:pt idx="728">
                  <c:v>45081</c:v>
                </c:pt>
                <c:pt idx="729">
                  <c:v>45082</c:v>
                </c:pt>
                <c:pt idx="730">
                  <c:v>45083</c:v>
                </c:pt>
                <c:pt idx="731">
                  <c:v>45084</c:v>
                </c:pt>
                <c:pt idx="732">
                  <c:v>45085</c:v>
                </c:pt>
                <c:pt idx="733">
                  <c:v>45086</c:v>
                </c:pt>
                <c:pt idx="734">
                  <c:v>45087</c:v>
                </c:pt>
                <c:pt idx="735">
                  <c:v>45088</c:v>
                </c:pt>
                <c:pt idx="736">
                  <c:v>45089</c:v>
                </c:pt>
                <c:pt idx="737">
                  <c:v>45090</c:v>
                </c:pt>
                <c:pt idx="738">
                  <c:v>45091</c:v>
                </c:pt>
                <c:pt idx="739">
                  <c:v>45092</c:v>
                </c:pt>
                <c:pt idx="740">
                  <c:v>45093</c:v>
                </c:pt>
                <c:pt idx="741">
                  <c:v>45094</c:v>
                </c:pt>
                <c:pt idx="742">
                  <c:v>45095</c:v>
                </c:pt>
                <c:pt idx="743">
                  <c:v>45096</c:v>
                </c:pt>
                <c:pt idx="744">
                  <c:v>45097</c:v>
                </c:pt>
                <c:pt idx="745">
                  <c:v>45098</c:v>
                </c:pt>
                <c:pt idx="746">
                  <c:v>45099</c:v>
                </c:pt>
                <c:pt idx="747">
                  <c:v>45100</c:v>
                </c:pt>
                <c:pt idx="748">
                  <c:v>45101</c:v>
                </c:pt>
                <c:pt idx="749">
                  <c:v>45102</c:v>
                </c:pt>
                <c:pt idx="750">
                  <c:v>45103</c:v>
                </c:pt>
                <c:pt idx="751">
                  <c:v>45104</c:v>
                </c:pt>
                <c:pt idx="752">
                  <c:v>45105</c:v>
                </c:pt>
                <c:pt idx="753">
                  <c:v>45106</c:v>
                </c:pt>
                <c:pt idx="754">
                  <c:v>45107</c:v>
                </c:pt>
                <c:pt idx="755">
                  <c:v>45108</c:v>
                </c:pt>
                <c:pt idx="756">
                  <c:v>45109</c:v>
                </c:pt>
                <c:pt idx="757">
                  <c:v>45110</c:v>
                </c:pt>
                <c:pt idx="758">
                  <c:v>45111</c:v>
                </c:pt>
                <c:pt idx="759">
                  <c:v>45112</c:v>
                </c:pt>
                <c:pt idx="760">
                  <c:v>45113</c:v>
                </c:pt>
                <c:pt idx="761">
                  <c:v>45114</c:v>
                </c:pt>
                <c:pt idx="762">
                  <c:v>45115</c:v>
                </c:pt>
                <c:pt idx="763">
                  <c:v>45116</c:v>
                </c:pt>
                <c:pt idx="764">
                  <c:v>45117</c:v>
                </c:pt>
                <c:pt idx="765">
                  <c:v>45118</c:v>
                </c:pt>
                <c:pt idx="766">
                  <c:v>45119</c:v>
                </c:pt>
                <c:pt idx="767">
                  <c:v>45120</c:v>
                </c:pt>
                <c:pt idx="768">
                  <c:v>45121</c:v>
                </c:pt>
                <c:pt idx="769">
                  <c:v>45122</c:v>
                </c:pt>
                <c:pt idx="770">
                  <c:v>45123</c:v>
                </c:pt>
                <c:pt idx="771">
                  <c:v>45124</c:v>
                </c:pt>
                <c:pt idx="772">
                  <c:v>45125</c:v>
                </c:pt>
                <c:pt idx="773">
                  <c:v>45126</c:v>
                </c:pt>
                <c:pt idx="774">
                  <c:v>45127</c:v>
                </c:pt>
                <c:pt idx="775">
                  <c:v>45128</c:v>
                </c:pt>
                <c:pt idx="776">
                  <c:v>45129</c:v>
                </c:pt>
                <c:pt idx="777">
                  <c:v>45130</c:v>
                </c:pt>
                <c:pt idx="778">
                  <c:v>45131</c:v>
                </c:pt>
                <c:pt idx="779">
                  <c:v>45132</c:v>
                </c:pt>
                <c:pt idx="780">
                  <c:v>45133</c:v>
                </c:pt>
                <c:pt idx="781">
                  <c:v>45134</c:v>
                </c:pt>
                <c:pt idx="782">
                  <c:v>45135</c:v>
                </c:pt>
                <c:pt idx="783">
                  <c:v>45136</c:v>
                </c:pt>
                <c:pt idx="784">
                  <c:v>45137</c:v>
                </c:pt>
                <c:pt idx="785">
                  <c:v>45138</c:v>
                </c:pt>
                <c:pt idx="786">
                  <c:v>45139</c:v>
                </c:pt>
                <c:pt idx="787">
                  <c:v>45140</c:v>
                </c:pt>
                <c:pt idx="788">
                  <c:v>45141</c:v>
                </c:pt>
                <c:pt idx="789">
                  <c:v>45142</c:v>
                </c:pt>
                <c:pt idx="790">
                  <c:v>45143</c:v>
                </c:pt>
                <c:pt idx="791">
                  <c:v>45144</c:v>
                </c:pt>
                <c:pt idx="792">
                  <c:v>45145</c:v>
                </c:pt>
                <c:pt idx="793">
                  <c:v>45146</c:v>
                </c:pt>
                <c:pt idx="794">
                  <c:v>45147</c:v>
                </c:pt>
                <c:pt idx="795">
                  <c:v>45148</c:v>
                </c:pt>
                <c:pt idx="796">
                  <c:v>45149</c:v>
                </c:pt>
                <c:pt idx="797">
                  <c:v>45150</c:v>
                </c:pt>
                <c:pt idx="798">
                  <c:v>45151</c:v>
                </c:pt>
                <c:pt idx="799">
                  <c:v>45152</c:v>
                </c:pt>
                <c:pt idx="800">
                  <c:v>45153</c:v>
                </c:pt>
                <c:pt idx="801">
                  <c:v>45154</c:v>
                </c:pt>
                <c:pt idx="802">
                  <c:v>45155</c:v>
                </c:pt>
                <c:pt idx="803">
                  <c:v>45156</c:v>
                </c:pt>
                <c:pt idx="804">
                  <c:v>45157</c:v>
                </c:pt>
                <c:pt idx="805">
                  <c:v>45158</c:v>
                </c:pt>
                <c:pt idx="806">
                  <c:v>45159</c:v>
                </c:pt>
                <c:pt idx="807">
                  <c:v>45160</c:v>
                </c:pt>
                <c:pt idx="808">
                  <c:v>45161</c:v>
                </c:pt>
                <c:pt idx="809">
                  <c:v>45162</c:v>
                </c:pt>
                <c:pt idx="810">
                  <c:v>45163</c:v>
                </c:pt>
                <c:pt idx="811">
                  <c:v>45164</c:v>
                </c:pt>
                <c:pt idx="812">
                  <c:v>45165</c:v>
                </c:pt>
                <c:pt idx="813">
                  <c:v>45166</c:v>
                </c:pt>
                <c:pt idx="814">
                  <c:v>45167</c:v>
                </c:pt>
                <c:pt idx="815">
                  <c:v>45168</c:v>
                </c:pt>
                <c:pt idx="816">
                  <c:v>45169</c:v>
                </c:pt>
                <c:pt idx="817">
                  <c:v>45170</c:v>
                </c:pt>
                <c:pt idx="818">
                  <c:v>45171</c:v>
                </c:pt>
                <c:pt idx="819">
                  <c:v>45172</c:v>
                </c:pt>
                <c:pt idx="820">
                  <c:v>45173</c:v>
                </c:pt>
                <c:pt idx="821">
                  <c:v>45174</c:v>
                </c:pt>
                <c:pt idx="822">
                  <c:v>45175</c:v>
                </c:pt>
                <c:pt idx="823">
                  <c:v>45176</c:v>
                </c:pt>
                <c:pt idx="824">
                  <c:v>45177</c:v>
                </c:pt>
                <c:pt idx="825">
                  <c:v>45178</c:v>
                </c:pt>
                <c:pt idx="826">
                  <c:v>45179</c:v>
                </c:pt>
                <c:pt idx="827">
                  <c:v>45180</c:v>
                </c:pt>
                <c:pt idx="828">
                  <c:v>45181</c:v>
                </c:pt>
                <c:pt idx="829">
                  <c:v>45182</c:v>
                </c:pt>
                <c:pt idx="830">
                  <c:v>45183</c:v>
                </c:pt>
                <c:pt idx="831">
                  <c:v>45184</c:v>
                </c:pt>
                <c:pt idx="832">
                  <c:v>45185</c:v>
                </c:pt>
                <c:pt idx="833">
                  <c:v>45186</c:v>
                </c:pt>
                <c:pt idx="834">
                  <c:v>45187</c:v>
                </c:pt>
                <c:pt idx="835">
                  <c:v>45188</c:v>
                </c:pt>
                <c:pt idx="836">
                  <c:v>45189</c:v>
                </c:pt>
                <c:pt idx="837">
                  <c:v>45190</c:v>
                </c:pt>
                <c:pt idx="838">
                  <c:v>45191</c:v>
                </c:pt>
                <c:pt idx="839">
                  <c:v>45192</c:v>
                </c:pt>
                <c:pt idx="840">
                  <c:v>45193</c:v>
                </c:pt>
                <c:pt idx="841">
                  <c:v>45194</c:v>
                </c:pt>
                <c:pt idx="842">
                  <c:v>45195</c:v>
                </c:pt>
                <c:pt idx="843">
                  <c:v>45196</c:v>
                </c:pt>
                <c:pt idx="844">
                  <c:v>45197</c:v>
                </c:pt>
                <c:pt idx="845">
                  <c:v>45198</c:v>
                </c:pt>
                <c:pt idx="846">
                  <c:v>45199</c:v>
                </c:pt>
                <c:pt idx="847">
                  <c:v>45200</c:v>
                </c:pt>
                <c:pt idx="848">
                  <c:v>45201</c:v>
                </c:pt>
                <c:pt idx="849">
                  <c:v>45202</c:v>
                </c:pt>
                <c:pt idx="850">
                  <c:v>45203</c:v>
                </c:pt>
                <c:pt idx="851">
                  <c:v>45204</c:v>
                </c:pt>
                <c:pt idx="852">
                  <c:v>45205</c:v>
                </c:pt>
                <c:pt idx="853">
                  <c:v>45206</c:v>
                </c:pt>
                <c:pt idx="854">
                  <c:v>45207</c:v>
                </c:pt>
                <c:pt idx="855">
                  <c:v>45208</c:v>
                </c:pt>
                <c:pt idx="856">
                  <c:v>45209</c:v>
                </c:pt>
                <c:pt idx="857">
                  <c:v>45210</c:v>
                </c:pt>
                <c:pt idx="858">
                  <c:v>45211</c:v>
                </c:pt>
                <c:pt idx="859">
                  <c:v>45212</c:v>
                </c:pt>
                <c:pt idx="860">
                  <c:v>45213</c:v>
                </c:pt>
                <c:pt idx="861">
                  <c:v>45214</c:v>
                </c:pt>
                <c:pt idx="862">
                  <c:v>45215</c:v>
                </c:pt>
                <c:pt idx="863">
                  <c:v>45216</c:v>
                </c:pt>
                <c:pt idx="864">
                  <c:v>45217</c:v>
                </c:pt>
                <c:pt idx="865">
                  <c:v>45218</c:v>
                </c:pt>
                <c:pt idx="866">
                  <c:v>45219</c:v>
                </c:pt>
                <c:pt idx="867">
                  <c:v>45220</c:v>
                </c:pt>
                <c:pt idx="868">
                  <c:v>45221</c:v>
                </c:pt>
                <c:pt idx="869">
                  <c:v>45222</c:v>
                </c:pt>
                <c:pt idx="870">
                  <c:v>45223</c:v>
                </c:pt>
                <c:pt idx="871">
                  <c:v>45224</c:v>
                </c:pt>
                <c:pt idx="872">
                  <c:v>45225</c:v>
                </c:pt>
                <c:pt idx="873">
                  <c:v>45226</c:v>
                </c:pt>
                <c:pt idx="874">
                  <c:v>45227</c:v>
                </c:pt>
                <c:pt idx="875">
                  <c:v>45228</c:v>
                </c:pt>
                <c:pt idx="876">
                  <c:v>45229</c:v>
                </c:pt>
                <c:pt idx="877">
                  <c:v>45230</c:v>
                </c:pt>
                <c:pt idx="878">
                  <c:v>45231</c:v>
                </c:pt>
                <c:pt idx="879">
                  <c:v>45232</c:v>
                </c:pt>
                <c:pt idx="880">
                  <c:v>45233</c:v>
                </c:pt>
                <c:pt idx="881">
                  <c:v>45234</c:v>
                </c:pt>
                <c:pt idx="882">
                  <c:v>45235</c:v>
                </c:pt>
                <c:pt idx="883">
                  <c:v>45236</c:v>
                </c:pt>
                <c:pt idx="884">
                  <c:v>45237</c:v>
                </c:pt>
                <c:pt idx="885">
                  <c:v>45238</c:v>
                </c:pt>
                <c:pt idx="886">
                  <c:v>45239</c:v>
                </c:pt>
                <c:pt idx="887">
                  <c:v>45240</c:v>
                </c:pt>
                <c:pt idx="888">
                  <c:v>45241</c:v>
                </c:pt>
                <c:pt idx="889">
                  <c:v>45242</c:v>
                </c:pt>
                <c:pt idx="890">
                  <c:v>45243</c:v>
                </c:pt>
                <c:pt idx="891">
                  <c:v>45244</c:v>
                </c:pt>
                <c:pt idx="892">
                  <c:v>45245</c:v>
                </c:pt>
                <c:pt idx="893">
                  <c:v>45246</c:v>
                </c:pt>
                <c:pt idx="894">
                  <c:v>45247</c:v>
                </c:pt>
                <c:pt idx="895">
                  <c:v>45248</c:v>
                </c:pt>
                <c:pt idx="896">
                  <c:v>45249</c:v>
                </c:pt>
                <c:pt idx="897">
                  <c:v>45250</c:v>
                </c:pt>
                <c:pt idx="898">
                  <c:v>45251</c:v>
                </c:pt>
                <c:pt idx="899">
                  <c:v>45252</c:v>
                </c:pt>
                <c:pt idx="900">
                  <c:v>45253</c:v>
                </c:pt>
                <c:pt idx="901">
                  <c:v>45254</c:v>
                </c:pt>
                <c:pt idx="902">
                  <c:v>45255</c:v>
                </c:pt>
                <c:pt idx="903">
                  <c:v>45256</c:v>
                </c:pt>
                <c:pt idx="904">
                  <c:v>45257</c:v>
                </c:pt>
                <c:pt idx="905">
                  <c:v>45258</c:v>
                </c:pt>
                <c:pt idx="906">
                  <c:v>45259</c:v>
                </c:pt>
                <c:pt idx="907">
                  <c:v>45260</c:v>
                </c:pt>
                <c:pt idx="908">
                  <c:v>45261</c:v>
                </c:pt>
                <c:pt idx="909">
                  <c:v>45262</c:v>
                </c:pt>
                <c:pt idx="910">
                  <c:v>45263</c:v>
                </c:pt>
                <c:pt idx="911">
                  <c:v>45264</c:v>
                </c:pt>
                <c:pt idx="912">
                  <c:v>45265</c:v>
                </c:pt>
                <c:pt idx="913">
                  <c:v>45266</c:v>
                </c:pt>
                <c:pt idx="914">
                  <c:v>45267</c:v>
                </c:pt>
                <c:pt idx="915">
                  <c:v>45268</c:v>
                </c:pt>
                <c:pt idx="916">
                  <c:v>45269</c:v>
                </c:pt>
                <c:pt idx="917">
                  <c:v>45270</c:v>
                </c:pt>
                <c:pt idx="918">
                  <c:v>45271</c:v>
                </c:pt>
                <c:pt idx="919">
                  <c:v>45272</c:v>
                </c:pt>
                <c:pt idx="920">
                  <c:v>45273</c:v>
                </c:pt>
                <c:pt idx="921">
                  <c:v>45274</c:v>
                </c:pt>
                <c:pt idx="922">
                  <c:v>45275</c:v>
                </c:pt>
                <c:pt idx="923">
                  <c:v>45276</c:v>
                </c:pt>
                <c:pt idx="924">
                  <c:v>45277</c:v>
                </c:pt>
                <c:pt idx="925">
                  <c:v>45278</c:v>
                </c:pt>
                <c:pt idx="926">
                  <c:v>45279</c:v>
                </c:pt>
                <c:pt idx="927">
                  <c:v>45280</c:v>
                </c:pt>
                <c:pt idx="928">
                  <c:v>45281</c:v>
                </c:pt>
                <c:pt idx="929">
                  <c:v>45282</c:v>
                </c:pt>
                <c:pt idx="930">
                  <c:v>45283</c:v>
                </c:pt>
                <c:pt idx="931">
                  <c:v>45284</c:v>
                </c:pt>
                <c:pt idx="932">
                  <c:v>45285</c:v>
                </c:pt>
                <c:pt idx="933">
                  <c:v>45286</c:v>
                </c:pt>
                <c:pt idx="934">
                  <c:v>45287</c:v>
                </c:pt>
                <c:pt idx="935">
                  <c:v>45288</c:v>
                </c:pt>
                <c:pt idx="936">
                  <c:v>45289</c:v>
                </c:pt>
                <c:pt idx="937">
                  <c:v>45290</c:v>
                </c:pt>
                <c:pt idx="938">
                  <c:v>45291</c:v>
                </c:pt>
                <c:pt idx="939">
                  <c:v>45292</c:v>
                </c:pt>
                <c:pt idx="940">
                  <c:v>45293</c:v>
                </c:pt>
                <c:pt idx="941">
                  <c:v>45294</c:v>
                </c:pt>
                <c:pt idx="942">
                  <c:v>45295</c:v>
                </c:pt>
                <c:pt idx="943">
                  <c:v>45296</c:v>
                </c:pt>
                <c:pt idx="944">
                  <c:v>45297</c:v>
                </c:pt>
                <c:pt idx="945">
                  <c:v>45298</c:v>
                </c:pt>
                <c:pt idx="946">
                  <c:v>45299</c:v>
                </c:pt>
                <c:pt idx="947">
                  <c:v>45300</c:v>
                </c:pt>
                <c:pt idx="948">
                  <c:v>45301</c:v>
                </c:pt>
                <c:pt idx="949">
                  <c:v>45302</c:v>
                </c:pt>
                <c:pt idx="950">
                  <c:v>45303</c:v>
                </c:pt>
                <c:pt idx="951">
                  <c:v>45304</c:v>
                </c:pt>
                <c:pt idx="952">
                  <c:v>45305</c:v>
                </c:pt>
                <c:pt idx="953">
                  <c:v>45306</c:v>
                </c:pt>
                <c:pt idx="954">
                  <c:v>45307</c:v>
                </c:pt>
                <c:pt idx="955">
                  <c:v>45308</c:v>
                </c:pt>
                <c:pt idx="956">
                  <c:v>45309</c:v>
                </c:pt>
                <c:pt idx="957">
                  <c:v>45310</c:v>
                </c:pt>
                <c:pt idx="958">
                  <c:v>45311</c:v>
                </c:pt>
                <c:pt idx="959">
                  <c:v>45312</c:v>
                </c:pt>
                <c:pt idx="960">
                  <c:v>45313</c:v>
                </c:pt>
                <c:pt idx="961">
                  <c:v>45314</c:v>
                </c:pt>
                <c:pt idx="962">
                  <c:v>45315</c:v>
                </c:pt>
                <c:pt idx="963">
                  <c:v>45316</c:v>
                </c:pt>
                <c:pt idx="964">
                  <c:v>45317</c:v>
                </c:pt>
                <c:pt idx="965">
                  <c:v>45318</c:v>
                </c:pt>
                <c:pt idx="966">
                  <c:v>45319</c:v>
                </c:pt>
                <c:pt idx="967">
                  <c:v>45320</c:v>
                </c:pt>
                <c:pt idx="968">
                  <c:v>45321</c:v>
                </c:pt>
                <c:pt idx="969">
                  <c:v>45322</c:v>
                </c:pt>
                <c:pt idx="970">
                  <c:v>45323</c:v>
                </c:pt>
                <c:pt idx="971">
                  <c:v>45324</c:v>
                </c:pt>
                <c:pt idx="972">
                  <c:v>45325</c:v>
                </c:pt>
                <c:pt idx="973">
                  <c:v>45326</c:v>
                </c:pt>
                <c:pt idx="974">
                  <c:v>45327</c:v>
                </c:pt>
                <c:pt idx="975">
                  <c:v>45328</c:v>
                </c:pt>
                <c:pt idx="976">
                  <c:v>45329</c:v>
                </c:pt>
                <c:pt idx="977">
                  <c:v>45330</c:v>
                </c:pt>
                <c:pt idx="978">
                  <c:v>45331</c:v>
                </c:pt>
                <c:pt idx="979">
                  <c:v>45332</c:v>
                </c:pt>
                <c:pt idx="980">
                  <c:v>45333</c:v>
                </c:pt>
                <c:pt idx="981">
                  <c:v>45334</c:v>
                </c:pt>
                <c:pt idx="982">
                  <c:v>45335</c:v>
                </c:pt>
                <c:pt idx="983">
                  <c:v>45336</c:v>
                </c:pt>
                <c:pt idx="984">
                  <c:v>45337</c:v>
                </c:pt>
                <c:pt idx="985">
                  <c:v>45338</c:v>
                </c:pt>
                <c:pt idx="986">
                  <c:v>45339</c:v>
                </c:pt>
                <c:pt idx="987">
                  <c:v>45340</c:v>
                </c:pt>
                <c:pt idx="988">
                  <c:v>45341</c:v>
                </c:pt>
                <c:pt idx="989">
                  <c:v>45342</c:v>
                </c:pt>
                <c:pt idx="990">
                  <c:v>45343</c:v>
                </c:pt>
                <c:pt idx="991">
                  <c:v>45344</c:v>
                </c:pt>
                <c:pt idx="992">
                  <c:v>45345</c:v>
                </c:pt>
                <c:pt idx="993">
                  <c:v>45346</c:v>
                </c:pt>
                <c:pt idx="994">
                  <c:v>45347</c:v>
                </c:pt>
                <c:pt idx="995">
                  <c:v>45348</c:v>
                </c:pt>
                <c:pt idx="996">
                  <c:v>45349</c:v>
                </c:pt>
                <c:pt idx="997">
                  <c:v>45350</c:v>
                </c:pt>
                <c:pt idx="998">
                  <c:v>45351</c:v>
                </c:pt>
                <c:pt idx="999">
                  <c:v>45352</c:v>
                </c:pt>
                <c:pt idx="1000">
                  <c:v>45353</c:v>
                </c:pt>
                <c:pt idx="1001">
                  <c:v>45354</c:v>
                </c:pt>
                <c:pt idx="1002">
                  <c:v>45355</c:v>
                </c:pt>
                <c:pt idx="1003">
                  <c:v>45356</c:v>
                </c:pt>
                <c:pt idx="1004">
                  <c:v>45357</c:v>
                </c:pt>
                <c:pt idx="1005">
                  <c:v>45358</c:v>
                </c:pt>
                <c:pt idx="1006">
                  <c:v>45359</c:v>
                </c:pt>
                <c:pt idx="1007">
                  <c:v>45360</c:v>
                </c:pt>
                <c:pt idx="1008">
                  <c:v>45361</c:v>
                </c:pt>
                <c:pt idx="1009">
                  <c:v>45362</c:v>
                </c:pt>
                <c:pt idx="1010">
                  <c:v>45363</c:v>
                </c:pt>
                <c:pt idx="1011">
                  <c:v>45364</c:v>
                </c:pt>
                <c:pt idx="1012">
                  <c:v>45365</c:v>
                </c:pt>
                <c:pt idx="1013">
                  <c:v>45366</c:v>
                </c:pt>
                <c:pt idx="1014">
                  <c:v>45367</c:v>
                </c:pt>
                <c:pt idx="1015">
                  <c:v>45368</c:v>
                </c:pt>
                <c:pt idx="1016">
                  <c:v>45369</c:v>
                </c:pt>
                <c:pt idx="1017">
                  <c:v>45370</c:v>
                </c:pt>
                <c:pt idx="1018">
                  <c:v>45371</c:v>
                </c:pt>
                <c:pt idx="1019">
                  <c:v>45372</c:v>
                </c:pt>
                <c:pt idx="1020">
                  <c:v>45373</c:v>
                </c:pt>
                <c:pt idx="1021">
                  <c:v>45374</c:v>
                </c:pt>
                <c:pt idx="1022">
                  <c:v>45375</c:v>
                </c:pt>
                <c:pt idx="1023">
                  <c:v>45376</c:v>
                </c:pt>
                <c:pt idx="1024">
                  <c:v>45377</c:v>
                </c:pt>
                <c:pt idx="1025">
                  <c:v>45378</c:v>
                </c:pt>
                <c:pt idx="1026">
                  <c:v>45379</c:v>
                </c:pt>
                <c:pt idx="1027">
                  <c:v>45380</c:v>
                </c:pt>
                <c:pt idx="1028">
                  <c:v>45381</c:v>
                </c:pt>
                <c:pt idx="1029">
                  <c:v>45382</c:v>
                </c:pt>
                <c:pt idx="1030">
                  <c:v>45383</c:v>
                </c:pt>
                <c:pt idx="1031">
                  <c:v>45384</c:v>
                </c:pt>
                <c:pt idx="1032">
                  <c:v>45385</c:v>
                </c:pt>
                <c:pt idx="1033">
                  <c:v>45386</c:v>
                </c:pt>
                <c:pt idx="1034">
                  <c:v>45387</c:v>
                </c:pt>
                <c:pt idx="1035">
                  <c:v>45388</c:v>
                </c:pt>
                <c:pt idx="1036">
                  <c:v>45389</c:v>
                </c:pt>
                <c:pt idx="1037">
                  <c:v>45390</c:v>
                </c:pt>
                <c:pt idx="1038">
                  <c:v>45391</c:v>
                </c:pt>
                <c:pt idx="1039">
                  <c:v>45392</c:v>
                </c:pt>
                <c:pt idx="1040">
                  <c:v>45393</c:v>
                </c:pt>
                <c:pt idx="1041">
                  <c:v>45394</c:v>
                </c:pt>
                <c:pt idx="1042">
                  <c:v>45395</c:v>
                </c:pt>
                <c:pt idx="1043">
                  <c:v>45396</c:v>
                </c:pt>
                <c:pt idx="1044">
                  <c:v>45397</c:v>
                </c:pt>
                <c:pt idx="1045">
                  <c:v>45398</c:v>
                </c:pt>
                <c:pt idx="1046">
                  <c:v>45399</c:v>
                </c:pt>
                <c:pt idx="1047">
                  <c:v>45400</c:v>
                </c:pt>
                <c:pt idx="1048">
                  <c:v>45401</c:v>
                </c:pt>
                <c:pt idx="1049">
                  <c:v>45402</c:v>
                </c:pt>
                <c:pt idx="1050">
                  <c:v>45403</c:v>
                </c:pt>
                <c:pt idx="1051">
                  <c:v>45404</c:v>
                </c:pt>
                <c:pt idx="1052">
                  <c:v>45405</c:v>
                </c:pt>
                <c:pt idx="1053">
                  <c:v>45406</c:v>
                </c:pt>
                <c:pt idx="1054">
                  <c:v>45407</c:v>
                </c:pt>
                <c:pt idx="1055">
                  <c:v>45408</c:v>
                </c:pt>
                <c:pt idx="1056">
                  <c:v>45409</c:v>
                </c:pt>
                <c:pt idx="1057">
                  <c:v>45410</c:v>
                </c:pt>
                <c:pt idx="1058">
                  <c:v>45411</c:v>
                </c:pt>
                <c:pt idx="1059">
                  <c:v>45412</c:v>
                </c:pt>
                <c:pt idx="1060">
                  <c:v>45413</c:v>
                </c:pt>
                <c:pt idx="1061">
                  <c:v>45414</c:v>
                </c:pt>
                <c:pt idx="1062">
                  <c:v>45415</c:v>
                </c:pt>
                <c:pt idx="1063">
                  <c:v>45416</c:v>
                </c:pt>
                <c:pt idx="1064">
                  <c:v>45417</c:v>
                </c:pt>
                <c:pt idx="1065">
                  <c:v>45418</c:v>
                </c:pt>
                <c:pt idx="1066">
                  <c:v>45419</c:v>
                </c:pt>
                <c:pt idx="1067">
                  <c:v>45420</c:v>
                </c:pt>
                <c:pt idx="1068">
                  <c:v>45421</c:v>
                </c:pt>
                <c:pt idx="1069">
                  <c:v>45422</c:v>
                </c:pt>
                <c:pt idx="1070">
                  <c:v>45423</c:v>
                </c:pt>
                <c:pt idx="1071">
                  <c:v>45424</c:v>
                </c:pt>
                <c:pt idx="1072">
                  <c:v>45425</c:v>
                </c:pt>
                <c:pt idx="1073">
                  <c:v>45426</c:v>
                </c:pt>
                <c:pt idx="1074">
                  <c:v>45427</c:v>
                </c:pt>
                <c:pt idx="1075">
                  <c:v>45428</c:v>
                </c:pt>
                <c:pt idx="1076">
                  <c:v>45429</c:v>
                </c:pt>
                <c:pt idx="1077">
                  <c:v>45430</c:v>
                </c:pt>
                <c:pt idx="1078">
                  <c:v>45431</c:v>
                </c:pt>
                <c:pt idx="1079">
                  <c:v>45432</c:v>
                </c:pt>
                <c:pt idx="1080">
                  <c:v>45433</c:v>
                </c:pt>
                <c:pt idx="1081">
                  <c:v>45434</c:v>
                </c:pt>
                <c:pt idx="1082">
                  <c:v>45435</c:v>
                </c:pt>
                <c:pt idx="1083">
                  <c:v>45436</c:v>
                </c:pt>
                <c:pt idx="1084">
                  <c:v>45437</c:v>
                </c:pt>
                <c:pt idx="1085">
                  <c:v>45438</c:v>
                </c:pt>
                <c:pt idx="1086">
                  <c:v>45439</c:v>
                </c:pt>
                <c:pt idx="1087">
                  <c:v>45440</c:v>
                </c:pt>
                <c:pt idx="1088">
                  <c:v>45441</c:v>
                </c:pt>
                <c:pt idx="1089">
                  <c:v>45442</c:v>
                </c:pt>
                <c:pt idx="1090">
                  <c:v>45443</c:v>
                </c:pt>
                <c:pt idx="1091">
                  <c:v>45444</c:v>
                </c:pt>
                <c:pt idx="1092">
                  <c:v>45445</c:v>
                </c:pt>
                <c:pt idx="1093">
                  <c:v>45446</c:v>
                </c:pt>
                <c:pt idx="1094">
                  <c:v>45447</c:v>
                </c:pt>
                <c:pt idx="1095">
                  <c:v>45448</c:v>
                </c:pt>
                <c:pt idx="1096">
                  <c:v>45449</c:v>
                </c:pt>
                <c:pt idx="1097">
                  <c:v>45450</c:v>
                </c:pt>
                <c:pt idx="1098">
                  <c:v>45451</c:v>
                </c:pt>
                <c:pt idx="1099">
                  <c:v>45452</c:v>
                </c:pt>
                <c:pt idx="1100">
                  <c:v>45453</c:v>
                </c:pt>
                <c:pt idx="1101">
                  <c:v>45454</c:v>
                </c:pt>
                <c:pt idx="1102">
                  <c:v>45455</c:v>
                </c:pt>
                <c:pt idx="1103">
                  <c:v>45456</c:v>
                </c:pt>
                <c:pt idx="1104">
                  <c:v>45457</c:v>
                </c:pt>
                <c:pt idx="1105">
                  <c:v>45458</c:v>
                </c:pt>
                <c:pt idx="1106">
                  <c:v>45459</c:v>
                </c:pt>
                <c:pt idx="1107">
                  <c:v>45460</c:v>
                </c:pt>
                <c:pt idx="1108">
                  <c:v>45461</c:v>
                </c:pt>
                <c:pt idx="1109">
                  <c:v>45462</c:v>
                </c:pt>
                <c:pt idx="1110">
                  <c:v>45463</c:v>
                </c:pt>
                <c:pt idx="1111">
                  <c:v>45464</c:v>
                </c:pt>
                <c:pt idx="1112">
                  <c:v>45465</c:v>
                </c:pt>
                <c:pt idx="1113">
                  <c:v>45466</c:v>
                </c:pt>
                <c:pt idx="1114">
                  <c:v>45467</c:v>
                </c:pt>
                <c:pt idx="1115">
                  <c:v>45468</c:v>
                </c:pt>
                <c:pt idx="1116">
                  <c:v>45469</c:v>
                </c:pt>
                <c:pt idx="1117">
                  <c:v>45470</c:v>
                </c:pt>
                <c:pt idx="1118">
                  <c:v>45471</c:v>
                </c:pt>
                <c:pt idx="1119">
                  <c:v>45472</c:v>
                </c:pt>
                <c:pt idx="1120">
                  <c:v>45473</c:v>
                </c:pt>
                <c:pt idx="1121">
                  <c:v>45474</c:v>
                </c:pt>
                <c:pt idx="1122">
                  <c:v>45475</c:v>
                </c:pt>
                <c:pt idx="1123">
                  <c:v>45476</c:v>
                </c:pt>
                <c:pt idx="1124">
                  <c:v>45477</c:v>
                </c:pt>
                <c:pt idx="1125">
                  <c:v>45478</c:v>
                </c:pt>
                <c:pt idx="1126">
                  <c:v>45479</c:v>
                </c:pt>
                <c:pt idx="1127">
                  <c:v>45480</c:v>
                </c:pt>
                <c:pt idx="1128">
                  <c:v>45481</c:v>
                </c:pt>
                <c:pt idx="1129">
                  <c:v>45482</c:v>
                </c:pt>
                <c:pt idx="1130">
                  <c:v>45483</c:v>
                </c:pt>
                <c:pt idx="1131">
                  <c:v>45484</c:v>
                </c:pt>
                <c:pt idx="1132">
                  <c:v>45485</c:v>
                </c:pt>
                <c:pt idx="1133">
                  <c:v>45486</c:v>
                </c:pt>
                <c:pt idx="1134">
                  <c:v>45487</c:v>
                </c:pt>
                <c:pt idx="1135">
                  <c:v>45488</c:v>
                </c:pt>
                <c:pt idx="1136">
                  <c:v>45489</c:v>
                </c:pt>
                <c:pt idx="1137">
                  <c:v>45490</c:v>
                </c:pt>
                <c:pt idx="1138">
                  <c:v>45491</c:v>
                </c:pt>
                <c:pt idx="1139">
                  <c:v>45492</c:v>
                </c:pt>
                <c:pt idx="1140">
                  <c:v>45493</c:v>
                </c:pt>
                <c:pt idx="1141">
                  <c:v>45494</c:v>
                </c:pt>
                <c:pt idx="1142">
                  <c:v>45495</c:v>
                </c:pt>
                <c:pt idx="1143">
                  <c:v>45496</c:v>
                </c:pt>
                <c:pt idx="1144">
                  <c:v>45497</c:v>
                </c:pt>
                <c:pt idx="1145">
                  <c:v>45498</c:v>
                </c:pt>
                <c:pt idx="1146">
                  <c:v>45499</c:v>
                </c:pt>
                <c:pt idx="1147">
                  <c:v>45500</c:v>
                </c:pt>
                <c:pt idx="1148">
                  <c:v>45501</c:v>
                </c:pt>
                <c:pt idx="1149">
                  <c:v>45502</c:v>
                </c:pt>
                <c:pt idx="1150">
                  <c:v>45503</c:v>
                </c:pt>
                <c:pt idx="1151">
                  <c:v>45504</c:v>
                </c:pt>
                <c:pt idx="1152">
                  <c:v>45505</c:v>
                </c:pt>
                <c:pt idx="1153">
                  <c:v>45506</c:v>
                </c:pt>
                <c:pt idx="1154">
                  <c:v>45507</c:v>
                </c:pt>
                <c:pt idx="1155">
                  <c:v>45508</c:v>
                </c:pt>
                <c:pt idx="1156">
                  <c:v>45509</c:v>
                </c:pt>
                <c:pt idx="1157">
                  <c:v>45510</c:v>
                </c:pt>
                <c:pt idx="1158">
                  <c:v>45511</c:v>
                </c:pt>
                <c:pt idx="1159">
                  <c:v>45512</c:v>
                </c:pt>
                <c:pt idx="1160">
                  <c:v>45513</c:v>
                </c:pt>
                <c:pt idx="1161">
                  <c:v>45514</c:v>
                </c:pt>
                <c:pt idx="1162">
                  <c:v>45515</c:v>
                </c:pt>
                <c:pt idx="1163">
                  <c:v>45516</c:v>
                </c:pt>
                <c:pt idx="1164">
                  <c:v>45517</c:v>
                </c:pt>
                <c:pt idx="1165">
                  <c:v>45518</c:v>
                </c:pt>
                <c:pt idx="1166">
                  <c:v>45519</c:v>
                </c:pt>
                <c:pt idx="1167">
                  <c:v>45520</c:v>
                </c:pt>
                <c:pt idx="1168">
                  <c:v>45521</c:v>
                </c:pt>
                <c:pt idx="1169">
                  <c:v>45522</c:v>
                </c:pt>
                <c:pt idx="1170">
                  <c:v>45523</c:v>
                </c:pt>
                <c:pt idx="1171">
                  <c:v>45524</c:v>
                </c:pt>
                <c:pt idx="1172">
                  <c:v>45525</c:v>
                </c:pt>
                <c:pt idx="1173">
                  <c:v>45526</c:v>
                </c:pt>
                <c:pt idx="1174">
                  <c:v>45527</c:v>
                </c:pt>
                <c:pt idx="1175">
                  <c:v>45528</c:v>
                </c:pt>
                <c:pt idx="1176">
                  <c:v>45529</c:v>
                </c:pt>
                <c:pt idx="1177">
                  <c:v>45530</c:v>
                </c:pt>
                <c:pt idx="1178">
                  <c:v>45531</c:v>
                </c:pt>
                <c:pt idx="1179">
                  <c:v>45532</c:v>
                </c:pt>
                <c:pt idx="1180">
                  <c:v>45533</c:v>
                </c:pt>
                <c:pt idx="1181">
                  <c:v>45534</c:v>
                </c:pt>
                <c:pt idx="1182">
                  <c:v>45535</c:v>
                </c:pt>
                <c:pt idx="1183">
                  <c:v>45536</c:v>
                </c:pt>
                <c:pt idx="1184">
                  <c:v>45537</c:v>
                </c:pt>
                <c:pt idx="1185">
                  <c:v>45538</c:v>
                </c:pt>
                <c:pt idx="1186">
                  <c:v>45539</c:v>
                </c:pt>
                <c:pt idx="1187">
                  <c:v>45540</c:v>
                </c:pt>
                <c:pt idx="1188">
                  <c:v>45541</c:v>
                </c:pt>
                <c:pt idx="1189">
                  <c:v>45542</c:v>
                </c:pt>
                <c:pt idx="1190">
                  <c:v>45543</c:v>
                </c:pt>
                <c:pt idx="1191">
                  <c:v>45544</c:v>
                </c:pt>
                <c:pt idx="1192">
                  <c:v>45545</c:v>
                </c:pt>
                <c:pt idx="1193">
                  <c:v>45546</c:v>
                </c:pt>
                <c:pt idx="1194">
                  <c:v>45547</c:v>
                </c:pt>
                <c:pt idx="1195">
                  <c:v>45548</c:v>
                </c:pt>
                <c:pt idx="1196">
                  <c:v>45549</c:v>
                </c:pt>
                <c:pt idx="1197">
                  <c:v>45550</c:v>
                </c:pt>
                <c:pt idx="1198">
                  <c:v>45551</c:v>
                </c:pt>
                <c:pt idx="1199">
                  <c:v>45552</c:v>
                </c:pt>
                <c:pt idx="1200">
                  <c:v>45553</c:v>
                </c:pt>
                <c:pt idx="1201">
                  <c:v>45554</c:v>
                </c:pt>
                <c:pt idx="1202">
                  <c:v>45555</c:v>
                </c:pt>
                <c:pt idx="1203">
                  <c:v>45556</c:v>
                </c:pt>
                <c:pt idx="1204">
                  <c:v>45557</c:v>
                </c:pt>
                <c:pt idx="1205">
                  <c:v>45558</c:v>
                </c:pt>
                <c:pt idx="1206">
                  <c:v>45559</c:v>
                </c:pt>
                <c:pt idx="1207">
                  <c:v>45560</c:v>
                </c:pt>
                <c:pt idx="1208">
                  <c:v>45561</c:v>
                </c:pt>
                <c:pt idx="1209">
                  <c:v>45562</c:v>
                </c:pt>
                <c:pt idx="1210">
                  <c:v>45563</c:v>
                </c:pt>
                <c:pt idx="1211">
                  <c:v>45564</c:v>
                </c:pt>
                <c:pt idx="1212">
                  <c:v>45565</c:v>
                </c:pt>
                <c:pt idx="1213">
                  <c:v>45566</c:v>
                </c:pt>
                <c:pt idx="1214">
                  <c:v>45567</c:v>
                </c:pt>
                <c:pt idx="1215">
                  <c:v>45568</c:v>
                </c:pt>
                <c:pt idx="1216">
                  <c:v>45569</c:v>
                </c:pt>
                <c:pt idx="1217">
                  <c:v>45570</c:v>
                </c:pt>
                <c:pt idx="1218">
                  <c:v>45571</c:v>
                </c:pt>
                <c:pt idx="1219">
                  <c:v>45572</c:v>
                </c:pt>
                <c:pt idx="1220">
                  <c:v>45573</c:v>
                </c:pt>
                <c:pt idx="1221">
                  <c:v>45574</c:v>
                </c:pt>
                <c:pt idx="1222">
                  <c:v>45575</c:v>
                </c:pt>
                <c:pt idx="1223">
                  <c:v>45576</c:v>
                </c:pt>
                <c:pt idx="1224">
                  <c:v>45577</c:v>
                </c:pt>
                <c:pt idx="1225">
                  <c:v>45578</c:v>
                </c:pt>
                <c:pt idx="1226">
                  <c:v>45579</c:v>
                </c:pt>
                <c:pt idx="1227">
                  <c:v>45580</c:v>
                </c:pt>
                <c:pt idx="1228">
                  <c:v>45581</c:v>
                </c:pt>
                <c:pt idx="1229">
                  <c:v>45582</c:v>
                </c:pt>
                <c:pt idx="1230">
                  <c:v>45583</c:v>
                </c:pt>
                <c:pt idx="1231">
                  <c:v>45584</c:v>
                </c:pt>
                <c:pt idx="1232">
                  <c:v>45585</c:v>
                </c:pt>
                <c:pt idx="1233">
                  <c:v>45586</c:v>
                </c:pt>
                <c:pt idx="1234">
                  <c:v>45587</c:v>
                </c:pt>
                <c:pt idx="1235">
                  <c:v>45588</c:v>
                </c:pt>
                <c:pt idx="1236">
                  <c:v>45589</c:v>
                </c:pt>
                <c:pt idx="1237">
                  <c:v>45590</c:v>
                </c:pt>
                <c:pt idx="1238">
                  <c:v>45591</c:v>
                </c:pt>
                <c:pt idx="1239">
                  <c:v>45592</c:v>
                </c:pt>
                <c:pt idx="1240">
                  <c:v>45593</c:v>
                </c:pt>
                <c:pt idx="1241">
                  <c:v>45594</c:v>
                </c:pt>
                <c:pt idx="1242">
                  <c:v>45595</c:v>
                </c:pt>
                <c:pt idx="1243">
                  <c:v>45596</c:v>
                </c:pt>
                <c:pt idx="1244">
                  <c:v>45597</c:v>
                </c:pt>
                <c:pt idx="1245">
                  <c:v>45598</c:v>
                </c:pt>
                <c:pt idx="1246">
                  <c:v>45599</c:v>
                </c:pt>
                <c:pt idx="1247">
                  <c:v>45600</c:v>
                </c:pt>
                <c:pt idx="1248">
                  <c:v>45601</c:v>
                </c:pt>
                <c:pt idx="1249">
                  <c:v>45602</c:v>
                </c:pt>
                <c:pt idx="1250">
                  <c:v>45603</c:v>
                </c:pt>
                <c:pt idx="1251">
                  <c:v>45604</c:v>
                </c:pt>
                <c:pt idx="1252">
                  <c:v>45605</c:v>
                </c:pt>
                <c:pt idx="1253">
                  <c:v>45606</c:v>
                </c:pt>
                <c:pt idx="1254">
                  <c:v>45607</c:v>
                </c:pt>
                <c:pt idx="1255">
                  <c:v>45608</c:v>
                </c:pt>
                <c:pt idx="1256">
                  <c:v>45609</c:v>
                </c:pt>
                <c:pt idx="1257">
                  <c:v>45610</c:v>
                </c:pt>
                <c:pt idx="1258">
                  <c:v>45611</c:v>
                </c:pt>
                <c:pt idx="1259">
                  <c:v>45612</c:v>
                </c:pt>
                <c:pt idx="1260">
                  <c:v>45613</c:v>
                </c:pt>
                <c:pt idx="1261">
                  <c:v>45614</c:v>
                </c:pt>
                <c:pt idx="1262">
                  <c:v>45615</c:v>
                </c:pt>
                <c:pt idx="1263">
                  <c:v>45616</c:v>
                </c:pt>
                <c:pt idx="1264">
                  <c:v>45617</c:v>
                </c:pt>
                <c:pt idx="1265">
                  <c:v>45618</c:v>
                </c:pt>
                <c:pt idx="1266">
                  <c:v>45619</c:v>
                </c:pt>
                <c:pt idx="1267">
                  <c:v>45620</c:v>
                </c:pt>
                <c:pt idx="1268">
                  <c:v>45621</c:v>
                </c:pt>
                <c:pt idx="1269">
                  <c:v>45622</c:v>
                </c:pt>
                <c:pt idx="1270">
                  <c:v>45623</c:v>
                </c:pt>
                <c:pt idx="1271">
                  <c:v>45624</c:v>
                </c:pt>
                <c:pt idx="1272">
                  <c:v>45625</c:v>
                </c:pt>
                <c:pt idx="1273">
                  <c:v>45626</c:v>
                </c:pt>
                <c:pt idx="1274">
                  <c:v>45627</c:v>
                </c:pt>
                <c:pt idx="1275">
                  <c:v>45628</c:v>
                </c:pt>
                <c:pt idx="1276">
                  <c:v>45629</c:v>
                </c:pt>
                <c:pt idx="1277">
                  <c:v>45630</c:v>
                </c:pt>
                <c:pt idx="1278">
                  <c:v>45631</c:v>
                </c:pt>
                <c:pt idx="1279">
                  <c:v>45632</c:v>
                </c:pt>
                <c:pt idx="1280">
                  <c:v>45633</c:v>
                </c:pt>
                <c:pt idx="1281">
                  <c:v>45634</c:v>
                </c:pt>
                <c:pt idx="1282">
                  <c:v>45635</c:v>
                </c:pt>
                <c:pt idx="1283">
                  <c:v>45636</c:v>
                </c:pt>
                <c:pt idx="1284">
                  <c:v>45637</c:v>
                </c:pt>
                <c:pt idx="1285">
                  <c:v>45638</c:v>
                </c:pt>
                <c:pt idx="1286">
                  <c:v>45639</c:v>
                </c:pt>
                <c:pt idx="1287">
                  <c:v>45640</c:v>
                </c:pt>
                <c:pt idx="1288">
                  <c:v>45641</c:v>
                </c:pt>
                <c:pt idx="1289">
                  <c:v>45642</c:v>
                </c:pt>
                <c:pt idx="1290">
                  <c:v>45643</c:v>
                </c:pt>
                <c:pt idx="1291">
                  <c:v>45644</c:v>
                </c:pt>
                <c:pt idx="1292">
                  <c:v>45645</c:v>
                </c:pt>
                <c:pt idx="1293">
                  <c:v>45646</c:v>
                </c:pt>
                <c:pt idx="1294">
                  <c:v>45647</c:v>
                </c:pt>
                <c:pt idx="1295">
                  <c:v>45648</c:v>
                </c:pt>
                <c:pt idx="1296">
                  <c:v>45649</c:v>
                </c:pt>
                <c:pt idx="1297">
                  <c:v>45650</c:v>
                </c:pt>
                <c:pt idx="1298">
                  <c:v>45651</c:v>
                </c:pt>
                <c:pt idx="1299">
                  <c:v>45652</c:v>
                </c:pt>
                <c:pt idx="1300">
                  <c:v>45653</c:v>
                </c:pt>
                <c:pt idx="1301">
                  <c:v>45654</c:v>
                </c:pt>
                <c:pt idx="1302">
                  <c:v>45655</c:v>
                </c:pt>
                <c:pt idx="1303">
                  <c:v>45656</c:v>
                </c:pt>
                <c:pt idx="1304">
                  <c:v>45657</c:v>
                </c:pt>
                <c:pt idx="1305">
                  <c:v>45658</c:v>
                </c:pt>
                <c:pt idx="1306">
                  <c:v>45659</c:v>
                </c:pt>
                <c:pt idx="1307">
                  <c:v>45660</c:v>
                </c:pt>
                <c:pt idx="1308">
                  <c:v>45661</c:v>
                </c:pt>
                <c:pt idx="1309">
                  <c:v>45662</c:v>
                </c:pt>
                <c:pt idx="1310">
                  <c:v>45663</c:v>
                </c:pt>
                <c:pt idx="1311">
                  <c:v>45664</c:v>
                </c:pt>
                <c:pt idx="1312">
                  <c:v>45665</c:v>
                </c:pt>
                <c:pt idx="1313">
                  <c:v>45666</c:v>
                </c:pt>
                <c:pt idx="1314">
                  <c:v>45667</c:v>
                </c:pt>
                <c:pt idx="1315">
                  <c:v>45668</c:v>
                </c:pt>
                <c:pt idx="1316">
                  <c:v>45669</c:v>
                </c:pt>
                <c:pt idx="1317">
                  <c:v>45670</c:v>
                </c:pt>
                <c:pt idx="1318">
                  <c:v>45671</c:v>
                </c:pt>
                <c:pt idx="1319">
                  <c:v>45672</c:v>
                </c:pt>
                <c:pt idx="1320">
                  <c:v>45673</c:v>
                </c:pt>
                <c:pt idx="1321">
                  <c:v>45674</c:v>
                </c:pt>
                <c:pt idx="1322">
                  <c:v>45675</c:v>
                </c:pt>
                <c:pt idx="1323">
                  <c:v>45676</c:v>
                </c:pt>
                <c:pt idx="1324">
                  <c:v>45677</c:v>
                </c:pt>
                <c:pt idx="1325">
                  <c:v>45678</c:v>
                </c:pt>
                <c:pt idx="1326">
                  <c:v>45679</c:v>
                </c:pt>
                <c:pt idx="1327">
                  <c:v>45680</c:v>
                </c:pt>
                <c:pt idx="1328">
                  <c:v>45681</c:v>
                </c:pt>
                <c:pt idx="1329">
                  <c:v>45682</c:v>
                </c:pt>
                <c:pt idx="1330">
                  <c:v>45683</c:v>
                </c:pt>
                <c:pt idx="1331">
                  <c:v>45684</c:v>
                </c:pt>
                <c:pt idx="1332">
                  <c:v>45685</c:v>
                </c:pt>
                <c:pt idx="1333">
                  <c:v>45686</c:v>
                </c:pt>
                <c:pt idx="1334">
                  <c:v>45687</c:v>
                </c:pt>
                <c:pt idx="1335">
                  <c:v>45688</c:v>
                </c:pt>
                <c:pt idx="1336">
                  <c:v>45689</c:v>
                </c:pt>
                <c:pt idx="1337">
                  <c:v>45690</c:v>
                </c:pt>
                <c:pt idx="1338">
                  <c:v>45691</c:v>
                </c:pt>
                <c:pt idx="1339">
                  <c:v>45692</c:v>
                </c:pt>
                <c:pt idx="1340">
                  <c:v>45693</c:v>
                </c:pt>
                <c:pt idx="1341">
                  <c:v>45694</c:v>
                </c:pt>
                <c:pt idx="1342">
                  <c:v>45695</c:v>
                </c:pt>
                <c:pt idx="1343">
                  <c:v>45696</c:v>
                </c:pt>
                <c:pt idx="1344">
                  <c:v>45697</c:v>
                </c:pt>
                <c:pt idx="1345">
                  <c:v>45698</c:v>
                </c:pt>
                <c:pt idx="1346">
                  <c:v>45699</c:v>
                </c:pt>
                <c:pt idx="1347">
                  <c:v>45700</c:v>
                </c:pt>
                <c:pt idx="1348">
                  <c:v>45701</c:v>
                </c:pt>
                <c:pt idx="1349">
                  <c:v>45702</c:v>
                </c:pt>
                <c:pt idx="1350">
                  <c:v>45703</c:v>
                </c:pt>
                <c:pt idx="1351">
                  <c:v>45704</c:v>
                </c:pt>
                <c:pt idx="1352">
                  <c:v>45705</c:v>
                </c:pt>
                <c:pt idx="1353">
                  <c:v>45706</c:v>
                </c:pt>
                <c:pt idx="1354">
                  <c:v>45707</c:v>
                </c:pt>
                <c:pt idx="1355">
                  <c:v>45708</c:v>
                </c:pt>
                <c:pt idx="1356">
                  <c:v>45709</c:v>
                </c:pt>
                <c:pt idx="1357">
                  <c:v>45710</c:v>
                </c:pt>
                <c:pt idx="1358">
                  <c:v>45711</c:v>
                </c:pt>
                <c:pt idx="1359">
                  <c:v>45712</c:v>
                </c:pt>
                <c:pt idx="1360">
                  <c:v>45713</c:v>
                </c:pt>
                <c:pt idx="1361">
                  <c:v>45714</c:v>
                </c:pt>
                <c:pt idx="1362">
                  <c:v>45715</c:v>
                </c:pt>
                <c:pt idx="1363">
                  <c:v>45716</c:v>
                </c:pt>
                <c:pt idx="1364">
                  <c:v>45717</c:v>
                </c:pt>
                <c:pt idx="1365">
                  <c:v>45718</c:v>
                </c:pt>
                <c:pt idx="1366">
                  <c:v>45719</c:v>
                </c:pt>
                <c:pt idx="1367">
                  <c:v>45720</c:v>
                </c:pt>
                <c:pt idx="1368">
                  <c:v>45721</c:v>
                </c:pt>
                <c:pt idx="1369">
                  <c:v>45722</c:v>
                </c:pt>
                <c:pt idx="1370">
                  <c:v>45723</c:v>
                </c:pt>
                <c:pt idx="1371">
                  <c:v>45724</c:v>
                </c:pt>
                <c:pt idx="1372">
                  <c:v>45725</c:v>
                </c:pt>
                <c:pt idx="1373">
                  <c:v>45726</c:v>
                </c:pt>
                <c:pt idx="1374">
                  <c:v>45727</c:v>
                </c:pt>
                <c:pt idx="1375">
                  <c:v>45728</c:v>
                </c:pt>
                <c:pt idx="1376">
                  <c:v>45729</c:v>
                </c:pt>
                <c:pt idx="1377">
                  <c:v>45730</c:v>
                </c:pt>
                <c:pt idx="1378">
                  <c:v>45731</c:v>
                </c:pt>
                <c:pt idx="1379">
                  <c:v>45732</c:v>
                </c:pt>
                <c:pt idx="1380">
                  <c:v>45733</c:v>
                </c:pt>
                <c:pt idx="1381">
                  <c:v>45734</c:v>
                </c:pt>
                <c:pt idx="1382">
                  <c:v>45735</c:v>
                </c:pt>
                <c:pt idx="1383">
                  <c:v>45736</c:v>
                </c:pt>
                <c:pt idx="1384">
                  <c:v>45737</c:v>
                </c:pt>
                <c:pt idx="1385">
                  <c:v>45738</c:v>
                </c:pt>
                <c:pt idx="1386">
                  <c:v>45739</c:v>
                </c:pt>
                <c:pt idx="1387">
                  <c:v>45740</c:v>
                </c:pt>
                <c:pt idx="1388">
                  <c:v>45741</c:v>
                </c:pt>
                <c:pt idx="1389">
                  <c:v>45742</c:v>
                </c:pt>
                <c:pt idx="1390">
                  <c:v>45743</c:v>
                </c:pt>
                <c:pt idx="1391">
                  <c:v>45744</c:v>
                </c:pt>
                <c:pt idx="1392">
                  <c:v>45745</c:v>
                </c:pt>
                <c:pt idx="1393">
                  <c:v>45746</c:v>
                </c:pt>
                <c:pt idx="1394">
                  <c:v>45747</c:v>
                </c:pt>
                <c:pt idx="1395">
                  <c:v>45748</c:v>
                </c:pt>
                <c:pt idx="1396">
                  <c:v>45749</c:v>
                </c:pt>
                <c:pt idx="1397">
                  <c:v>45750</c:v>
                </c:pt>
                <c:pt idx="1398">
                  <c:v>45751</c:v>
                </c:pt>
                <c:pt idx="1399">
                  <c:v>45752</c:v>
                </c:pt>
                <c:pt idx="1400">
                  <c:v>45753</c:v>
                </c:pt>
                <c:pt idx="1401">
                  <c:v>45754</c:v>
                </c:pt>
                <c:pt idx="1402">
                  <c:v>45755</c:v>
                </c:pt>
                <c:pt idx="1403">
                  <c:v>45756</c:v>
                </c:pt>
                <c:pt idx="1404">
                  <c:v>45757</c:v>
                </c:pt>
                <c:pt idx="1405">
                  <c:v>45758</c:v>
                </c:pt>
                <c:pt idx="1406">
                  <c:v>45759</c:v>
                </c:pt>
                <c:pt idx="1407">
                  <c:v>45760</c:v>
                </c:pt>
                <c:pt idx="1408">
                  <c:v>45761</c:v>
                </c:pt>
                <c:pt idx="1409">
                  <c:v>45762</c:v>
                </c:pt>
                <c:pt idx="1410">
                  <c:v>45763</c:v>
                </c:pt>
                <c:pt idx="1411">
                  <c:v>45764</c:v>
                </c:pt>
                <c:pt idx="1412">
                  <c:v>45765</c:v>
                </c:pt>
                <c:pt idx="1413">
                  <c:v>45766</c:v>
                </c:pt>
                <c:pt idx="1414">
                  <c:v>45767</c:v>
                </c:pt>
                <c:pt idx="1415">
                  <c:v>45768</c:v>
                </c:pt>
                <c:pt idx="1416">
                  <c:v>45769</c:v>
                </c:pt>
                <c:pt idx="1417">
                  <c:v>45770</c:v>
                </c:pt>
                <c:pt idx="1418">
                  <c:v>45771</c:v>
                </c:pt>
                <c:pt idx="1419">
                  <c:v>45772</c:v>
                </c:pt>
                <c:pt idx="1420">
                  <c:v>45773</c:v>
                </c:pt>
                <c:pt idx="1421">
                  <c:v>45774</c:v>
                </c:pt>
                <c:pt idx="1422">
                  <c:v>45775</c:v>
                </c:pt>
                <c:pt idx="1423">
                  <c:v>45776</c:v>
                </c:pt>
                <c:pt idx="1424">
                  <c:v>45777</c:v>
                </c:pt>
                <c:pt idx="1425">
                  <c:v>45778</c:v>
                </c:pt>
                <c:pt idx="1426">
                  <c:v>45779</c:v>
                </c:pt>
                <c:pt idx="1427">
                  <c:v>45780</c:v>
                </c:pt>
                <c:pt idx="1428">
                  <c:v>45781</c:v>
                </c:pt>
                <c:pt idx="1429">
                  <c:v>45782</c:v>
                </c:pt>
                <c:pt idx="1430">
                  <c:v>45783</c:v>
                </c:pt>
                <c:pt idx="1431">
                  <c:v>45784</c:v>
                </c:pt>
                <c:pt idx="1432">
                  <c:v>45785</c:v>
                </c:pt>
                <c:pt idx="1433">
                  <c:v>45786</c:v>
                </c:pt>
                <c:pt idx="1434">
                  <c:v>45787</c:v>
                </c:pt>
                <c:pt idx="1435">
                  <c:v>45788</c:v>
                </c:pt>
                <c:pt idx="1436">
                  <c:v>45789</c:v>
                </c:pt>
                <c:pt idx="1437">
                  <c:v>45790</c:v>
                </c:pt>
                <c:pt idx="1438">
                  <c:v>45791</c:v>
                </c:pt>
                <c:pt idx="1439">
                  <c:v>45792</c:v>
                </c:pt>
                <c:pt idx="1440">
                  <c:v>45793</c:v>
                </c:pt>
                <c:pt idx="1441">
                  <c:v>45794</c:v>
                </c:pt>
                <c:pt idx="1442">
                  <c:v>45795</c:v>
                </c:pt>
                <c:pt idx="1443">
                  <c:v>45796</c:v>
                </c:pt>
                <c:pt idx="1444">
                  <c:v>45797</c:v>
                </c:pt>
                <c:pt idx="1445">
                  <c:v>45798</c:v>
                </c:pt>
                <c:pt idx="1446">
                  <c:v>45799</c:v>
                </c:pt>
                <c:pt idx="1447">
                  <c:v>45800</c:v>
                </c:pt>
                <c:pt idx="1448">
                  <c:v>45801</c:v>
                </c:pt>
                <c:pt idx="1449">
                  <c:v>45802</c:v>
                </c:pt>
                <c:pt idx="1450">
                  <c:v>45803</c:v>
                </c:pt>
                <c:pt idx="1451">
                  <c:v>45804</c:v>
                </c:pt>
                <c:pt idx="1452">
                  <c:v>45805</c:v>
                </c:pt>
                <c:pt idx="1453">
                  <c:v>45806</c:v>
                </c:pt>
                <c:pt idx="1454">
                  <c:v>45807</c:v>
                </c:pt>
                <c:pt idx="1455">
                  <c:v>45808</c:v>
                </c:pt>
                <c:pt idx="1456">
                  <c:v>45809</c:v>
                </c:pt>
                <c:pt idx="1457">
                  <c:v>45810</c:v>
                </c:pt>
                <c:pt idx="1458">
                  <c:v>45811</c:v>
                </c:pt>
                <c:pt idx="1459">
                  <c:v>45812</c:v>
                </c:pt>
                <c:pt idx="1460">
                  <c:v>45813</c:v>
                </c:pt>
                <c:pt idx="1461">
                  <c:v>45814</c:v>
                </c:pt>
                <c:pt idx="1462">
                  <c:v>45815</c:v>
                </c:pt>
                <c:pt idx="1463">
                  <c:v>45816</c:v>
                </c:pt>
                <c:pt idx="1464">
                  <c:v>45817</c:v>
                </c:pt>
                <c:pt idx="1465">
                  <c:v>45818</c:v>
                </c:pt>
                <c:pt idx="1466">
                  <c:v>45819</c:v>
                </c:pt>
                <c:pt idx="1467">
                  <c:v>45820</c:v>
                </c:pt>
                <c:pt idx="1468">
                  <c:v>45821</c:v>
                </c:pt>
                <c:pt idx="1469">
                  <c:v>45822</c:v>
                </c:pt>
                <c:pt idx="1470">
                  <c:v>45823</c:v>
                </c:pt>
                <c:pt idx="1471">
                  <c:v>45824</c:v>
                </c:pt>
                <c:pt idx="1472">
                  <c:v>45825</c:v>
                </c:pt>
                <c:pt idx="1473">
                  <c:v>45826</c:v>
                </c:pt>
                <c:pt idx="1474">
                  <c:v>45827</c:v>
                </c:pt>
                <c:pt idx="1475">
                  <c:v>45828</c:v>
                </c:pt>
                <c:pt idx="1476">
                  <c:v>45829</c:v>
                </c:pt>
                <c:pt idx="1477">
                  <c:v>45830</c:v>
                </c:pt>
                <c:pt idx="1478">
                  <c:v>45831</c:v>
                </c:pt>
                <c:pt idx="1479">
                  <c:v>45832</c:v>
                </c:pt>
                <c:pt idx="1480">
                  <c:v>45833</c:v>
                </c:pt>
                <c:pt idx="1481">
                  <c:v>45834</c:v>
                </c:pt>
                <c:pt idx="1482">
                  <c:v>45835</c:v>
                </c:pt>
                <c:pt idx="1483">
                  <c:v>45836</c:v>
                </c:pt>
                <c:pt idx="1484">
                  <c:v>45837</c:v>
                </c:pt>
                <c:pt idx="1485">
                  <c:v>45838</c:v>
                </c:pt>
                <c:pt idx="1486">
                  <c:v>45839</c:v>
                </c:pt>
                <c:pt idx="1487">
                  <c:v>45840</c:v>
                </c:pt>
                <c:pt idx="1488">
                  <c:v>45841</c:v>
                </c:pt>
                <c:pt idx="1489">
                  <c:v>45842</c:v>
                </c:pt>
                <c:pt idx="1490">
                  <c:v>45843</c:v>
                </c:pt>
                <c:pt idx="1491">
                  <c:v>45844</c:v>
                </c:pt>
                <c:pt idx="1492">
                  <c:v>45845</c:v>
                </c:pt>
                <c:pt idx="1493">
                  <c:v>45846</c:v>
                </c:pt>
                <c:pt idx="1494">
                  <c:v>45847</c:v>
                </c:pt>
                <c:pt idx="1495">
                  <c:v>45848</c:v>
                </c:pt>
                <c:pt idx="1496">
                  <c:v>45849</c:v>
                </c:pt>
                <c:pt idx="1497">
                  <c:v>45850</c:v>
                </c:pt>
                <c:pt idx="1498">
                  <c:v>45851</c:v>
                </c:pt>
                <c:pt idx="1499">
                  <c:v>45852</c:v>
                </c:pt>
                <c:pt idx="1500">
                  <c:v>45853</c:v>
                </c:pt>
                <c:pt idx="1501">
                  <c:v>45854</c:v>
                </c:pt>
                <c:pt idx="1502">
                  <c:v>45855</c:v>
                </c:pt>
                <c:pt idx="1503">
                  <c:v>45856</c:v>
                </c:pt>
                <c:pt idx="1504">
                  <c:v>45857</c:v>
                </c:pt>
                <c:pt idx="1505">
                  <c:v>45858</c:v>
                </c:pt>
                <c:pt idx="1506">
                  <c:v>45859</c:v>
                </c:pt>
                <c:pt idx="1507">
                  <c:v>45860</c:v>
                </c:pt>
                <c:pt idx="1508">
                  <c:v>45861</c:v>
                </c:pt>
                <c:pt idx="1509">
                  <c:v>45862</c:v>
                </c:pt>
                <c:pt idx="1510">
                  <c:v>45863</c:v>
                </c:pt>
                <c:pt idx="1511">
                  <c:v>45864</c:v>
                </c:pt>
                <c:pt idx="1512">
                  <c:v>45865</c:v>
                </c:pt>
                <c:pt idx="1513">
                  <c:v>45866</c:v>
                </c:pt>
                <c:pt idx="1514">
                  <c:v>45867</c:v>
                </c:pt>
                <c:pt idx="1515">
                  <c:v>45868</c:v>
                </c:pt>
                <c:pt idx="1516">
                  <c:v>45869</c:v>
                </c:pt>
                <c:pt idx="1517">
                  <c:v>45870</c:v>
                </c:pt>
                <c:pt idx="1518">
                  <c:v>45871</c:v>
                </c:pt>
                <c:pt idx="1519">
                  <c:v>45872</c:v>
                </c:pt>
                <c:pt idx="1520">
                  <c:v>45873</c:v>
                </c:pt>
                <c:pt idx="1521">
                  <c:v>45874</c:v>
                </c:pt>
                <c:pt idx="1522">
                  <c:v>45875</c:v>
                </c:pt>
                <c:pt idx="1523">
                  <c:v>45876</c:v>
                </c:pt>
                <c:pt idx="1524">
                  <c:v>45877</c:v>
                </c:pt>
                <c:pt idx="1525">
                  <c:v>45878</c:v>
                </c:pt>
                <c:pt idx="1526">
                  <c:v>45879</c:v>
                </c:pt>
                <c:pt idx="1527">
                  <c:v>45880</c:v>
                </c:pt>
                <c:pt idx="1528">
                  <c:v>45881</c:v>
                </c:pt>
                <c:pt idx="1529">
                  <c:v>45882</c:v>
                </c:pt>
                <c:pt idx="1530">
                  <c:v>45883</c:v>
                </c:pt>
                <c:pt idx="1531">
                  <c:v>45884</c:v>
                </c:pt>
                <c:pt idx="1532">
                  <c:v>45885</c:v>
                </c:pt>
                <c:pt idx="1533">
                  <c:v>45886</c:v>
                </c:pt>
                <c:pt idx="1534">
                  <c:v>45887</c:v>
                </c:pt>
                <c:pt idx="1535">
                  <c:v>45888</c:v>
                </c:pt>
                <c:pt idx="1536">
                  <c:v>45889</c:v>
                </c:pt>
                <c:pt idx="1537">
                  <c:v>45890</c:v>
                </c:pt>
                <c:pt idx="1538">
                  <c:v>45891</c:v>
                </c:pt>
                <c:pt idx="1539">
                  <c:v>45892</c:v>
                </c:pt>
                <c:pt idx="1540">
                  <c:v>45893</c:v>
                </c:pt>
                <c:pt idx="1541">
                  <c:v>45894</c:v>
                </c:pt>
                <c:pt idx="1542">
                  <c:v>45895</c:v>
                </c:pt>
                <c:pt idx="1543">
                  <c:v>45896</c:v>
                </c:pt>
                <c:pt idx="1544">
                  <c:v>45897</c:v>
                </c:pt>
                <c:pt idx="1545">
                  <c:v>45898</c:v>
                </c:pt>
                <c:pt idx="1546">
                  <c:v>45899</c:v>
                </c:pt>
                <c:pt idx="1547">
                  <c:v>45900</c:v>
                </c:pt>
                <c:pt idx="1548">
                  <c:v>45901</c:v>
                </c:pt>
                <c:pt idx="1549">
                  <c:v>45902</c:v>
                </c:pt>
                <c:pt idx="1550">
                  <c:v>45903</c:v>
                </c:pt>
                <c:pt idx="1551">
                  <c:v>45904</c:v>
                </c:pt>
                <c:pt idx="1552">
                  <c:v>45905</c:v>
                </c:pt>
                <c:pt idx="1553">
                  <c:v>45906</c:v>
                </c:pt>
                <c:pt idx="1554">
                  <c:v>45907</c:v>
                </c:pt>
                <c:pt idx="1555">
                  <c:v>45908</c:v>
                </c:pt>
                <c:pt idx="1556">
                  <c:v>45909</c:v>
                </c:pt>
                <c:pt idx="1557">
                  <c:v>45910</c:v>
                </c:pt>
                <c:pt idx="1558">
                  <c:v>45911</c:v>
                </c:pt>
                <c:pt idx="1559">
                  <c:v>45912</c:v>
                </c:pt>
                <c:pt idx="1560">
                  <c:v>45913</c:v>
                </c:pt>
                <c:pt idx="1561">
                  <c:v>45914</c:v>
                </c:pt>
                <c:pt idx="1562">
                  <c:v>45915</c:v>
                </c:pt>
                <c:pt idx="1563">
                  <c:v>45916</c:v>
                </c:pt>
                <c:pt idx="1564">
                  <c:v>45917</c:v>
                </c:pt>
                <c:pt idx="1565">
                  <c:v>45918</c:v>
                </c:pt>
                <c:pt idx="1566">
                  <c:v>45919</c:v>
                </c:pt>
                <c:pt idx="1567">
                  <c:v>45920</c:v>
                </c:pt>
                <c:pt idx="1568">
                  <c:v>45921</c:v>
                </c:pt>
                <c:pt idx="1569">
                  <c:v>45922</c:v>
                </c:pt>
                <c:pt idx="1570">
                  <c:v>45923</c:v>
                </c:pt>
                <c:pt idx="1571">
                  <c:v>45924</c:v>
                </c:pt>
                <c:pt idx="1572">
                  <c:v>45925</c:v>
                </c:pt>
                <c:pt idx="1573">
                  <c:v>45926</c:v>
                </c:pt>
                <c:pt idx="1574">
                  <c:v>45927</c:v>
                </c:pt>
                <c:pt idx="1575">
                  <c:v>45928</c:v>
                </c:pt>
                <c:pt idx="1576">
                  <c:v>45929</c:v>
                </c:pt>
                <c:pt idx="1577">
                  <c:v>45930</c:v>
                </c:pt>
                <c:pt idx="1578">
                  <c:v>45931</c:v>
                </c:pt>
                <c:pt idx="1579">
                  <c:v>45932</c:v>
                </c:pt>
                <c:pt idx="1580">
                  <c:v>45933</c:v>
                </c:pt>
                <c:pt idx="1581">
                  <c:v>45934</c:v>
                </c:pt>
                <c:pt idx="1582">
                  <c:v>45935</c:v>
                </c:pt>
                <c:pt idx="1583">
                  <c:v>45936</c:v>
                </c:pt>
                <c:pt idx="1584">
                  <c:v>45937</c:v>
                </c:pt>
                <c:pt idx="1585">
                  <c:v>45938</c:v>
                </c:pt>
              </c:numCache>
            </c:numRef>
          </c:xVal>
          <c:yVal>
            <c:numRef>
              <c:f>'[Pharmacy%20vaccination%20data%20rollout%20graphs (version 1).xlsb.xlsx]All COVID-19 vaccine data'!$B$968:$BIA$968</c:f>
              <c:numCache>
                <c:formatCode>General</c:formatCode>
                <c:ptCount val="1586"/>
                <c:pt idx="0">
                  <c:v>0.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35270</c:v>
                </c:pt>
                <c:pt idx="64">
                  <c:v>43047</c:v>
                </c:pt>
                <c:pt idx="65">
                  <c:v>52243</c:v>
                </c:pt>
                <c:pt idx="66">
                  <c:v>62044</c:v>
                </c:pt>
                <c:pt idx="67">
                  <c:v>72619</c:v>
                </c:pt>
                <c:pt idx="68">
                  <c:v>84617</c:v>
                </c:pt>
                <c:pt idx="69">
                  <c:v>91489</c:v>
                </c:pt>
                <c:pt idx="70">
                  <c:v>94666</c:v>
                </c:pt>
                <c:pt idx="71">
                  <c:v>109253</c:v>
                </c:pt>
                <c:pt idx="72">
                  <c:v>125031</c:v>
                </c:pt>
                <c:pt idx="73">
                  <c:v>141858</c:v>
                </c:pt>
                <c:pt idx="74">
                  <c:v>160412</c:v>
                </c:pt>
                <c:pt idx="75">
                  <c:v>179281</c:v>
                </c:pt>
                <c:pt idx="76">
                  <c:v>187488</c:v>
                </c:pt>
                <c:pt idx="77">
                  <c:v>190576</c:v>
                </c:pt>
                <c:pt idx="78">
                  <c:v>209065</c:v>
                </c:pt>
                <c:pt idx="79">
                  <c:v>226922</c:v>
                </c:pt>
                <c:pt idx="80">
                  <c:v>244470</c:v>
                </c:pt>
                <c:pt idx="81">
                  <c:v>264221</c:v>
                </c:pt>
                <c:pt idx="82">
                  <c:v>283381</c:v>
                </c:pt>
                <c:pt idx="83">
                  <c:v>291786</c:v>
                </c:pt>
                <c:pt idx="84">
                  <c:v>294609</c:v>
                </c:pt>
                <c:pt idx="85">
                  <c:v>311565</c:v>
                </c:pt>
                <c:pt idx="86">
                  <c:v>328126</c:v>
                </c:pt>
                <c:pt idx="87">
                  <c:v>344318</c:v>
                </c:pt>
                <c:pt idx="88">
                  <c:v>361472</c:v>
                </c:pt>
                <c:pt idx="89">
                  <c:v>379430</c:v>
                </c:pt>
                <c:pt idx="90">
                  <c:v>387864</c:v>
                </c:pt>
                <c:pt idx="91">
                  <c:v>390190</c:v>
                </c:pt>
                <c:pt idx="92">
                  <c:v>408103</c:v>
                </c:pt>
                <c:pt idx="93">
                  <c:v>425802</c:v>
                </c:pt>
                <c:pt idx="94">
                  <c:v>442600</c:v>
                </c:pt>
                <c:pt idx="95">
                  <c:v>459700</c:v>
                </c:pt>
                <c:pt idx="96">
                  <c:v>479661</c:v>
                </c:pt>
                <c:pt idx="97">
                  <c:v>487866</c:v>
                </c:pt>
                <c:pt idx="98">
                  <c:v>491423</c:v>
                </c:pt>
                <c:pt idx="99">
                  <c:v>507524</c:v>
                </c:pt>
                <c:pt idx="100">
                  <c:v>522400</c:v>
                </c:pt>
                <c:pt idx="101">
                  <c:v>536425</c:v>
                </c:pt>
                <c:pt idx="102">
                  <c:v>550850</c:v>
                </c:pt>
                <c:pt idx="103">
                  <c:v>567848</c:v>
                </c:pt>
                <c:pt idx="104">
                  <c:v>575187</c:v>
                </c:pt>
                <c:pt idx="105">
                  <c:v>577887</c:v>
                </c:pt>
                <c:pt idx="106">
                  <c:v>593027</c:v>
                </c:pt>
                <c:pt idx="107">
                  <c:v>607216</c:v>
                </c:pt>
                <c:pt idx="108">
                  <c:v>624598</c:v>
                </c:pt>
                <c:pt idx="109">
                  <c:v>647431</c:v>
                </c:pt>
                <c:pt idx="110">
                  <c:v>670357</c:v>
                </c:pt>
                <c:pt idx="111">
                  <c:v>685346</c:v>
                </c:pt>
                <c:pt idx="112">
                  <c:v>691295</c:v>
                </c:pt>
                <c:pt idx="113">
                  <c:v>722019</c:v>
                </c:pt>
                <c:pt idx="114">
                  <c:v>755674</c:v>
                </c:pt>
                <c:pt idx="115">
                  <c:v>789596</c:v>
                </c:pt>
                <c:pt idx="116">
                  <c:v>825639</c:v>
                </c:pt>
                <c:pt idx="117">
                  <c:v>865490</c:v>
                </c:pt>
                <c:pt idx="118">
                  <c:v>884178</c:v>
                </c:pt>
                <c:pt idx="119">
                  <c:v>890576</c:v>
                </c:pt>
                <c:pt idx="120">
                  <c:v>909866</c:v>
                </c:pt>
                <c:pt idx="121">
                  <c:v>950175</c:v>
                </c:pt>
                <c:pt idx="122">
                  <c:v>989836</c:v>
                </c:pt>
                <c:pt idx="123">
                  <c:v>1027686</c:v>
                </c:pt>
                <c:pt idx="124">
                  <c:v>1066849</c:v>
                </c:pt>
                <c:pt idx="125">
                  <c:v>1084077</c:v>
                </c:pt>
                <c:pt idx="126">
                  <c:v>1089809</c:v>
                </c:pt>
                <c:pt idx="127">
                  <c:v>1126818</c:v>
                </c:pt>
                <c:pt idx="128">
                  <c:v>1159301</c:v>
                </c:pt>
                <c:pt idx="129">
                  <c:v>1190648</c:v>
                </c:pt>
                <c:pt idx="130">
                  <c:v>1222626</c:v>
                </c:pt>
                <c:pt idx="131">
                  <c:v>1256012</c:v>
                </c:pt>
                <c:pt idx="132">
                  <c:v>1268963</c:v>
                </c:pt>
                <c:pt idx="133">
                  <c:v>1273213</c:v>
                </c:pt>
                <c:pt idx="134">
                  <c:v>1301471</c:v>
                </c:pt>
                <c:pt idx="135">
                  <c:v>1329978</c:v>
                </c:pt>
                <c:pt idx="136">
                  <c:v>1360563</c:v>
                </c:pt>
                <c:pt idx="137">
                  <c:v>1394709</c:v>
                </c:pt>
                <c:pt idx="138">
                  <c:v>1431256</c:v>
                </c:pt>
                <c:pt idx="139">
                  <c:v>1449448</c:v>
                </c:pt>
                <c:pt idx="140">
                  <c:v>1455814</c:v>
                </c:pt>
                <c:pt idx="141">
                  <c:v>1492230</c:v>
                </c:pt>
                <c:pt idx="142">
                  <c:v>1528645</c:v>
                </c:pt>
                <c:pt idx="143">
                  <c:v>1565834</c:v>
                </c:pt>
                <c:pt idx="144">
                  <c:v>1605993</c:v>
                </c:pt>
                <c:pt idx="145">
                  <c:v>1646821</c:v>
                </c:pt>
                <c:pt idx="146">
                  <c:v>1666368</c:v>
                </c:pt>
                <c:pt idx="147">
                  <c:v>1672475</c:v>
                </c:pt>
                <c:pt idx="148">
                  <c:v>1704105</c:v>
                </c:pt>
                <c:pt idx="149">
                  <c:v>1730439</c:v>
                </c:pt>
                <c:pt idx="150">
                  <c:v>1767317</c:v>
                </c:pt>
                <c:pt idx="151">
                  <c:v>1802912</c:v>
                </c:pt>
                <c:pt idx="152">
                  <c:v>1839424</c:v>
                </c:pt>
                <c:pt idx="153">
                  <c:v>1854433</c:v>
                </c:pt>
                <c:pt idx="154">
                  <c:v>1858753</c:v>
                </c:pt>
                <c:pt idx="155">
                  <c:v>1888416</c:v>
                </c:pt>
                <c:pt idx="156">
                  <c:v>1916527</c:v>
                </c:pt>
                <c:pt idx="157">
                  <c:v>1949167</c:v>
                </c:pt>
                <c:pt idx="158">
                  <c:v>1982282</c:v>
                </c:pt>
                <c:pt idx="159">
                  <c:v>2016109</c:v>
                </c:pt>
                <c:pt idx="160">
                  <c:v>2028733</c:v>
                </c:pt>
                <c:pt idx="161">
                  <c:v>2033178</c:v>
                </c:pt>
                <c:pt idx="162">
                  <c:v>2062008</c:v>
                </c:pt>
                <c:pt idx="163">
                  <c:v>2089557</c:v>
                </c:pt>
                <c:pt idx="164">
                  <c:v>2115887</c:v>
                </c:pt>
                <c:pt idx="165">
                  <c:v>2142515</c:v>
                </c:pt>
                <c:pt idx="166">
                  <c:v>2170673</c:v>
                </c:pt>
                <c:pt idx="167">
                  <c:v>2181734</c:v>
                </c:pt>
                <c:pt idx="168">
                  <c:v>2185594</c:v>
                </c:pt>
                <c:pt idx="169">
                  <c:v>2210189</c:v>
                </c:pt>
                <c:pt idx="170">
                  <c:v>2233838</c:v>
                </c:pt>
                <c:pt idx="171">
                  <c:v>2256690</c:v>
                </c:pt>
                <c:pt idx="172">
                  <c:v>2280345</c:v>
                </c:pt>
                <c:pt idx="173">
                  <c:v>2303790</c:v>
                </c:pt>
                <c:pt idx="174">
                  <c:v>2312668</c:v>
                </c:pt>
                <c:pt idx="175">
                  <c:v>2315966</c:v>
                </c:pt>
                <c:pt idx="176">
                  <c:v>2336939</c:v>
                </c:pt>
                <c:pt idx="177">
                  <c:v>2356819</c:v>
                </c:pt>
                <c:pt idx="178">
                  <c:v>2375328</c:v>
                </c:pt>
                <c:pt idx="179">
                  <c:v>2393143</c:v>
                </c:pt>
                <c:pt idx="180">
                  <c:v>2412040</c:v>
                </c:pt>
                <c:pt idx="181">
                  <c:v>2419552</c:v>
                </c:pt>
                <c:pt idx="182">
                  <c:v>2422473</c:v>
                </c:pt>
                <c:pt idx="183">
                  <c:v>2440447</c:v>
                </c:pt>
                <c:pt idx="184">
                  <c:v>2458364</c:v>
                </c:pt>
                <c:pt idx="185">
                  <c:v>2476503</c:v>
                </c:pt>
                <c:pt idx="186">
                  <c:v>2495805</c:v>
                </c:pt>
                <c:pt idx="187">
                  <c:v>2516627</c:v>
                </c:pt>
                <c:pt idx="188">
                  <c:v>2524987</c:v>
                </c:pt>
                <c:pt idx="189">
                  <c:v>2529542</c:v>
                </c:pt>
                <c:pt idx="190">
                  <c:v>2564716</c:v>
                </c:pt>
                <c:pt idx="191">
                  <c:v>2605187</c:v>
                </c:pt>
                <c:pt idx="192">
                  <c:v>2649563</c:v>
                </c:pt>
                <c:pt idx="193">
                  <c:v>2700517</c:v>
                </c:pt>
                <c:pt idx="194">
                  <c:v>2752632</c:v>
                </c:pt>
                <c:pt idx="195">
                  <c:v>2773887</c:v>
                </c:pt>
                <c:pt idx="196">
                  <c:v>2782653</c:v>
                </c:pt>
                <c:pt idx="197">
                  <c:v>2835361</c:v>
                </c:pt>
                <c:pt idx="198">
                  <c:v>2889746</c:v>
                </c:pt>
                <c:pt idx="199">
                  <c:v>2945003</c:v>
                </c:pt>
                <c:pt idx="200">
                  <c:v>2997088</c:v>
                </c:pt>
                <c:pt idx="202">
                  <c:v>3032428</c:v>
                </c:pt>
                <c:pt idx="203">
                  <c:v>3036691</c:v>
                </c:pt>
                <c:pt idx="204">
                  <c:v>3048221</c:v>
                </c:pt>
                <c:pt idx="205">
                  <c:v>3061794</c:v>
                </c:pt>
                <c:pt idx="206">
                  <c:v>3122842</c:v>
                </c:pt>
                <c:pt idx="207">
                  <c:v>3181876</c:v>
                </c:pt>
                <c:pt idx="209">
                  <c:v>3227432</c:v>
                </c:pt>
                <c:pt idx="210">
                  <c:v>3235590</c:v>
                </c:pt>
                <c:pt idx="211">
                  <c:v>3249122</c:v>
                </c:pt>
                <c:pt idx="212">
                  <c:v>3320570</c:v>
                </c:pt>
                <c:pt idx="213">
                  <c:v>3400893</c:v>
                </c:pt>
                <c:pt idx="214">
                  <c:v>3482509</c:v>
                </c:pt>
                <c:pt idx="215">
                  <c:v>3558120</c:v>
                </c:pt>
                <c:pt idx="216">
                  <c:v>3591569</c:v>
                </c:pt>
                <c:pt idx="217">
                  <c:v>3605634</c:v>
                </c:pt>
                <c:pt idx="218">
                  <c:v>3682367</c:v>
                </c:pt>
                <c:pt idx="219">
                  <c:v>3762948</c:v>
                </c:pt>
                <c:pt idx="220">
                  <c:v>3845188</c:v>
                </c:pt>
                <c:pt idx="221">
                  <c:v>3926792</c:v>
                </c:pt>
                <c:pt idx="222">
                  <c:v>4006877</c:v>
                </c:pt>
                <c:pt idx="223">
                  <c:v>4041298</c:v>
                </c:pt>
                <c:pt idx="224">
                  <c:v>4055238</c:v>
                </c:pt>
                <c:pt idx="225">
                  <c:v>4130198</c:v>
                </c:pt>
                <c:pt idx="226">
                  <c:v>4205965</c:v>
                </c:pt>
                <c:pt idx="227">
                  <c:v>4285816</c:v>
                </c:pt>
                <c:pt idx="228">
                  <c:v>4367308</c:v>
                </c:pt>
                <c:pt idx="229">
                  <c:v>4444204</c:v>
                </c:pt>
                <c:pt idx="230">
                  <c:v>4479138</c:v>
                </c:pt>
                <c:pt idx="231">
                  <c:v>4493168</c:v>
                </c:pt>
                <c:pt idx="232">
                  <c:v>4568438</c:v>
                </c:pt>
                <c:pt idx="233">
                  <c:v>4648702</c:v>
                </c:pt>
                <c:pt idx="234">
                  <c:v>4660904</c:v>
                </c:pt>
                <c:pt idx="235">
                  <c:v>4733703</c:v>
                </c:pt>
                <c:pt idx="236">
                  <c:v>4801876</c:v>
                </c:pt>
                <c:pt idx="237">
                  <c:v>4830425</c:v>
                </c:pt>
                <c:pt idx="238">
                  <c:v>4841659</c:v>
                </c:pt>
                <c:pt idx="239">
                  <c:v>4906315</c:v>
                </c:pt>
                <c:pt idx="240">
                  <c:v>4972755</c:v>
                </c:pt>
                <c:pt idx="241">
                  <c:v>5038921</c:v>
                </c:pt>
                <c:pt idx="242">
                  <c:v>5105313</c:v>
                </c:pt>
                <c:pt idx="243">
                  <c:v>5171271</c:v>
                </c:pt>
                <c:pt idx="244">
                  <c:v>5197944</c:v>
                </c:pt>
                <c:pt idx="245">
                  <c:v>5207254</c:v>
                </c:pt>
                <c:pt idx="246">
                  <c:v>5263373</c:v>
                </c:pt>
                <c:pt idx="247">
                  <c:v>5319208</c:v>
                </c:pt>
                <c:pt idx="248">
                  <c:v>5371939</c:v>
                </c:pt>
                <c:pt idx="249">
                  <c:v>5425042</c:v>
                </c:pt>
                <c:pt idx="250">
                  <c:v>5479777</c:v>
                </c:pt>
                <c:pt idx="251">
                  <c:v>5501802</c:v>
                </c:pt>
                <c:pt idx="252">
                  <c:v>5509340</c:v>
                </c:pt>
                <c:pt idx="253">
                  <c:v>5552983</c:v>
                </c:pt>
                <c:pt idx="254">
                  <c:v>5597171</c:v>
                </c:pt>
                <c:pt idx="255">
                  <c:v>5639362</c:v>
                </c:pt>
                <c:pt idx="256">
                  <c:v>5681756</c:v>
                </c:pt>
                <c:pt idx="257">
                  <c:v>5725725</c:v>
                </c:pt>
                <c:pt idx="258">
                  <c:v>5745242</c:v>
                </c:pt>
                <c:pt idx="259">
                  <c:v>5752575</c:v>
                </c:pt>
                <c:pt idx="260">
                  <c:v>5792595</c:v>
                </c:pt>
                <c:pt idx="261">
                  <c:v>5831198</c:v>
                </c:pt>
                <c:pt idx="262">
                  <c:v>5867044</c:v>
                </c:pt>
                <c:pt idx="263">
                  <c:v>5902395</c:v>
                </c:pt>
                <c:pt idx="264">
                  <c:v>5939401</c:v>
                </c:pt>
                <c:pt idx="265">
                  <c:v>5955431</c:v>
                </c:pt>
                <c:pt idx="266">
                  <c:v>5961117</c:v>
                </c:pt>
                <c:pt idx="267">
                  <c:v>5991741</c:v>
                </c:pt>
                <c:pt idx="268">
                  <c:v>6019762</c:v>
                </c:pt>
                <c:pt idx="269">
                  <c:v>6046789</c:v>
                </c:pt>
                <c:pt idx="270">
                  <c:v>6073419</c:v>
                </c:pt>
                <c:pt idx="271">
                  <c:v>6102355</c:v>
                </c:pt>
                <c:pt idx="272">
                  <c:v>6115212</c:v>
                </c:pt>
                <c:pt idx="273">
                  <c:v>6119662</c:v>
                </c:pt>
                <c:pt idx="274">
                  <c:v>6140291</c:v>
                </c:pt>
                <c:pt idx="275">
                  <c:v>6164477</c:v>
                </c:pt>
                <c:pt idx="276">
                  <c:v>6188316</c:v>
                </c:pt>
                <c:pt idx="277">
                  <c:v>6212544</c:v>
                </c:pt>
                <c:pt idx="278">
                  <c:v>6256129</c:v>
                </c:pt>
                <c:pt idx="279">
                  <c:v>6256129</c:v>
                </c:pt>
                <c:pt idx="280">
                  <c:v>6261162</c:v>
                </c:pt>
                <c:pt idx="281">
                  <c:v>6280239</c:v>
                </c:pt>
                <c:pt idx="282">
                  <c:v>6306153</c:v>
                </c:pt>
                <c:pt idx="283">
                  <c:v>6329836</c:v>
                </c:pt>
                <c:pt idx="284">
                  <c:v>6353911</c:v>
                </c:pt>
                <c:pt idx="285">
                  <c:v>6397971</c:v>
                </c:pt>
                <c:pt idx="286">
                  <c:v>6393726</c:v>
                </c:pt>
                <c:pt idx="287">
                  <c:v>6398743</c:v>
                </c:pt>
                <c:pt idx="288">
                  <c:v>6421673</c:v>
                </c:pt>
                <c:pt idx="289">
                  <c:v>6443149</c:v>
                </c:pt>
                <c:pt idx="290">
                  <c:v>6462783</c:v>
                </c:pt>
                <c:pt idx="291">
                  <c:v>6483864</c:v>
                </c:pt>
                <c:pt idx="292">
                  <c:v>6506349</c:v>
                </c:pt>
                <c:pt idx="293">
                  <c:v>6517993</c:v>
                </c:pt>
                <c:pt idx="294">
                  <c:v>6517993</c:v>
                </c:pt>
                <c:pt idx="295">
                  <c:v>6542882</c:v>
                </c:pt>
                <c:pt idx="296">
                  <c:v>6561999</c:v>
                </c:pt>
                <c:pt idx="297">
                  <c:v>6579462</c:v>
                </c:pt>
                <c:pt idx="298">
                  <c:v>6596626</c:v>
                </c:pt>
                <c:pt idx="299">
                  <c:v>6614286</c:v>
                </c:pt>
                <c:pt idx="300">
                  <c:v>6622402</c:v>
                </c:pt>
                <c:pt idx="301">
                  <c:v>6625398</c:v>
                </c:pt>
                <c:pt idx="302">
                  <c:v>6642157</c:v>
                </c:pt>
                <c:pt idx="303">
                  <c:v>6658273</c:v>
                </c:pt>
                <c:pt idx="304">
                  <c:v>6673186</c:v>
                </c:pt>
                <c:pt idx="305">
                  <c:v>6688169</c:v>
                </c:pt>
                <c:pt idx="306">
                  <c:v>6704536</c:v>
                </c:pt>
                <c:pt idx="307">
                  <c:v>6711127</c:v>
                </c:pt>
                <c:pt idx="308">
                  <c:v>6713824</c:v>
                </c:pt>
                <c:pt idx="309">
                  <c:v>6730111</c:v>
                </c:pt>
                <c:pt idx="310">
                  <c:v>6744574</c:v>
                </c:pt>
                <c:pt idx="311">
                  <c:v>6758552</c:v>
                </c:pt>
                <c:pt idx="312">
                  <c:v>6774361</c:v>
                </c:pt>
                <c:pt idx="313">
                  <c:v>6775098</c:v>
                </c:pt>
                <c:pt idx="314">
                  <c:v>6778422</c:v>
                </c:pt>
                <c:pt idx="315">
                  <c:v>6779361</c:v>
                </c:pt>
                <c:pt idx="316">
                  <c:v>6781394</c:v>
                </c:pt>
                <c:pt idx="317">
                  <c:v>6798941</c:v>
                </c:pt>
                <c:pt idx="318">
                  <c:v>6815748</c:v>
                </c:pt>
                <c:pt idx="319">
                  <c:v>6832663</c:v>
                </c:pt>
                <c:pt idx="320">
                  <c:v>6849775</c:v>
                </c:pt>
                <c:pt idx="321">
                  <c:v>6855908</c:v>
                </c:pt>
                <c:pt idx="322">
                  <c:v>6858187</c:v>
                </c:pt>
                <c:pt idx="323">
                  <c:v>6859418</c:v>
                </c:pt>
                <c:pt idx="324">
                  <c:v>6875677</c:v>
                </c:pt>
                <c:pt idx="325">
                  <c:v>6904795</c:v>
                </c:pt>
                <c:pt idx="326">
                  <c:v>6904795</c:v>
                </c:pt>
                <c:pt idx="327">
                  <c:v>6920152</c:v>
                </c:pt>
                <c:pt idx="328">
                  <c:v>6925776</c:v>
                </c:pt>
                <c:pt idx="329">
                  <c:v>6927696</c:v>
                </c:pt>
                <c:pt idx="330">
                  <c:v>6939956</c:v>
                </c:pt>
                <c:pt idx="331">
                  <c:v>6954043</c:v>
                </c:pt>
                <c:pt idx="332">
                  <c:v>6969596</c:v>
                </c:pt>
                <c:pt idx="333">
                  <c:v>6985983</c:v>
                </c:pt>
                <c:pt idx="334">
                  <c:v>7002370</c:v>
                </c:pt>
                <c:pt idx="335">
                  <c:v>7006735</c:v>
                </c:pt>
                <c:pt idx="336">
                  <c:v>7008460</c:v>
                </c:pt>
                <c:pt idx="337">
                  <c:v>7024504</c:v>
                </c:pt>
                <c:pt idx="338">
                  <c:v>7040951</c:v>
                </c:pt>
                <c:pt idx="339">
                  <c:v>7057406</c:v>
                </c:pt>
                <c:pt idx="340">
                  <c:v>7074397</c:v>
                </c:pt>
                <c:pt idx="341">
                  <c:v>7090139</c:v>
                </c:pt>
                <c:pt idx="342">
                  <c:v>7094896</c:v>
                </c:pt>
                <c:pt idx="343">
                  <c:v>7096739</c:v>
                </c:pt>
                <c:pt idx="344">
                  <c:v>7113136</c:v>
                </c:pt>
                <c:pt idx="345">
                  <c:v>7128961</c:v>
                </c:pt>
                <c:pt idx="346">
                  <c:v>7145024</c:v>
                </c:pt>
                <c:pt idx="347">
                  <c:v>7161773</c:v>
                </c:pt>
                <c:pt idx="348">
                  <c:v>7177429</c:v>
                </c:pt>
                <c:pt idx="349">
                  <c:v>7181740</c:v>
                </c:pt>
                <c:pt idx="350">
                  <c:v>7183241</c:v>
                </c:pt>
                <c:pt idx="351">
                  <c:v>7197133</c:v>
                </c:pt>
                <c:pt idx="352">
                  <c:v>7211916</c:v>
                </c:pt>
                <c:pt idx="353">
                  <c:v>7226087</c:v>
                </c:pt>
                <c:pt idx="354">
                  <c:v>7242231</c:v>
                </c:pt>
                <c:pt idx="355">
                  <c:v>7256744</c:v>
                </c:pt>
                <c:pt idx="356">
                  <c:v>7261133</c:v>
                </c:pt>
                <c:pt idx="357">
                  <c:v>7262728</c:v>
                </c:pt>
                <c:pt idx="358">
                  <c:v>7276419</c:v>
                </c:pt>
                <c:pt idx="359">
                  <c:v>7291082</c:v>
                </c:pt>
                <c:pt idx="360">
                  <c:v>7305511</c:v>
                </c:pt>
                <c:pt idx="361">
                  <c:v>7321434</c:v>
                </c:pt>
                <c:pt idx="362">
                  <c:v>7335807</c:v>
                </c:pt>
                <c:pt idx="363">
                  <c:v>7340184</c:v>
                </c:pt>
                <c:pt idx="364">
                  <c:v>7341668</c:v>
                </c:pt>
                <c:pt idx="365">
                  <c:v>7353769</c:v>
                </c:pt>
                <c:pt idx="366">
                  <c:v>7367616</c:v>
                </c:pt>
                <c:pt idx="367">
                  <c:v>7380722</c:v>
                </c:pt>
                <c:pt idx="368">
                  <c:v>7394695</c:v>
                </c:pt>
                <c:pt idx="369">
                  <c:v>7407518</c:v>
                </c:pt>
                <c:pt idx="370">
                  <c:v>7411220</c:v>
                </c:pt>
                <c:pt idx="371">
                  <c:v>7412614</c:v>
                </c:pt>
                <c:pt idx="372">
                  <c:v>7416954</c:v>
                </c:pt>
                <c:pt idx="373">
                  <c:v>7416954</c:v>
                </c:pt>
                <c:pt idx="374">
                  <c:v>7442274</c:v>
                </c:pt>
                <c:pt idx="375">
                  <c:v>7455832</c:v>
                </c:pt>
                <c:pt idx="376">
                  <c:v>7468201</c:v>
                </c:pt>
                <c:pt idx="377">
                  <c:v>7471864</c:v>
                </c:pt>
                <c:pt idx="378">
                  <c:v>7473144</c:v>
                </c:pt>
                <c:pt idx="379">
                  <c:v>7485017</c:v>
                </c:pt>
                <c:pt idx="380">
                  <c:v>7496781</c:v>
                </c:pt>
                <c:pt idx="381">
                  <c:v>7508054</c:v>
                </c:pt>
                <c:pt idx="382">
                  <c:v>7520436</c:v>
                </c:pt>
                <c:pt idx="383">
                  <c:v>7531820</c:v>
                </c:pt>
                <c:pt idx="384">
                  <c:v>7535134</c:v>
                </c:pt>
                <c:pt idx="385">
                  <c:v>7536294</c:v>
                </c:pt>
                <c:pt idx="386">
                  <c:v>7546597</c:v>
                </c:pt>
                <c:pt idx="387">
                  <c:v>7557372</c:v>
                </c:pt>
                <c:pt idx="388">
                  <c:v>7567559</c:v>
                </c:pt>
                <c:pt idx="389">
                  <c:v>7578253</c:v>
                </c:pt>
                <c:pt idx="390">
                  <c:v>7587956</c:v>
                </c:pt>
                <c:pt idx="391">
                  <c:v>7591297</c:v>
                </c:pt>
                <c:pt idx="392">
                  <c:v>7592642</c:v>
                </c:pt>
                <c:pt idx="393">
                  <c:v>7603516</c:v>
                </c:pt>
                <c:pt idx="394">
                  <c:v>7615678</c:v>
                </c:pt>
                <c:pt idx="395">
                  <c:v>7629562</c:v>
                </c:pt>
                <c:pt idx="396">
                  <c:v>7648400</c:v>
                </c:pt>
                <c:pt idx="397">
                  <c:v>7672925</c:v>
                </c:pt>
                <c:pt idx="398">
                  <c:v>7682034</c:v>
                </c:pt>
                <c:pt idx="399">
                  <c:v>7686133</c:v>
                </c:pt>
                <c:pt idx="400">
                  <c:v>7734376</c:v>
                </c:pt>
                <c:pt idx="401">
                  <c:v>7787037</c:v>
                </c:pt>
                <c:pt idx="402">
                  <c:v>7837865</c:v>
                </c:pt>
                <c:pt idx="403">
                  <c:v>7890880</c:v>
                </c:pt>
                <c:pt idx="404">
                  <c:v>7944045</c:v>
                </c:pt>
                <c:pt idx="405">
                  <c:v>7965343</c:v>
                </c:pt>
                <c:pt idx="406">
                  <c:v>7973021</c:v>
                </c:pt>
                <c:pt idx="407">
                  <c:v>8018123</c:v>
                </c:pt>
                <c:pt idx="408">
                  <c:v>8064660</c:v>
                </c:pt>
                <c:pt idx="409">
                  <c:v>8110150</c:v>
                </c:pt>
                <c:pt idx="410">
                  <c:v>8155571</c:v>
                </c:pt>
                <c:pt idx="413">
                  <c:v>8224912</c:v>
                </c:pt>
                <c:pt idx="414">
                  <c:v>8262954</c:v>
                </c:pt>
                <c:pt idx="415">
                  <c:v>8298856</c:v>
                </c:pt>
                <c:pt idx="416">
                  <c:v>8332269</c:v>
                </c:pt>
                <c:pt idx="417">
                  <c:v>8365459</c:v>
                </c:pt>
                <c:pt idx="420">
                  <c:v>8412006</c:v>
                </c:pt>
                <c:pt idx="422">
                  <c:v>8464371</c:v>
                </c:pt>
                <c:pt idx="423">
                  <c:v>8486834</c:v>
                </c:pt>
                <c:pt idx="424">
                  <c:v>8499435</c:v>
                </c:pt>
                <c:pt idx="427">
                  <c:v>8529344</c:v>
                </c:pt>
                <c:pt idx="428">
                  <c:v>8544794</c:v>
                </c:pt>
                <c:pt idx="433">
                  <c:v>8606348</c:v>
                </c:pt>
                <c:pt idx="440">
                  <c:v>8661465</c:v>
                </c:pt>
                <c:pt idx="447">
                  <c:v>8702505</c:v>
                </c:pt>
                <c:pt idx="454">
                  <c:v>8737279</c:v>
                </c:pt>
                <c:pt idx="464">
                  <c:v>8781113</c:v>
                </c:pt>
                <c:pt idx="471">
                  <c:v>8806951</c:v>
                </c:pt>
                <c:pt idx="478">
                  <c:v>8824726</c:v>
                </c:pt>
                <c:pt idx="485">
                  <c:v>8855481</c:v>
                </c:pt>
                <c:pt idx="492">
                  <c:v>8879675</c:v>
                </c:pt>
                <c:pt idx="499">
                  <c:v>8905306</c:v>
                </c:pt>
                <c:pt idx="506">
                  <c:v>8928303</c:v>
                </c:pt>
                <c:pt idx="513">
                  <c:v>8951615</c:v>
                </c:pt>
                <c:pt idx="520">
                  <c:v>8990053</c:v>
                </c:pt>
                <c:pt idx="527">
                  <c:v>9034273</c:v>
                </c:pt>
                <c:pt idx="528">
                  <c:v>9054885</c:v>
                </c:pt>
                <c:pt idx="534">
                  <c:v>9085177</c:v>
                </c:pt>
                <c:pt idx="535">
                  <c:v>9102162</c:v>
                </c:pt>
                <c:pt idx="541">
                  <c:v>9113679</c:v>
                </c:pt>
                <c:pt idx="542">
                  <c:v>9136373</c:v>
                </c:pt>
                <c:pt idx="548">
                  <c:v>9158200</c:v>
                </c:pt>
                <c:pt idx="555">
                  <c:v>9195976</c:v>
                </c:pt>
                <c:pt idx="562">
                  <c:v>9212571</c:v>
                </c:pt>
                <c:pt idx="576">
                  <c:v>9248203</c:v>
                </c:pt>
                <c:pt idx="583">
                  <c:v>9267695</c:v>
                </c:pt>
                <c:pt idx="590">
                  <c:v>9283825</c:v>
                </c:pt>
                <c:pt idx="597">
                  <c:v>9295095</c:v>
                </c:pt>
                <c:pt idx="604">
                  <c:v>9307892</c:v>
                </c:pt>
                <c:pt idx="611">
                  <c:v>9319346</c:v>
                </c:pt>
                <c:pt idx="618">
                  <c:v>9337386</c:v>
                </c:pt>
                <c:pt idx="625">
                  <c:v>9396794</c:v>
                </c:pt>
                <c:pt idx="632">
                  <c:v>9463682</c:v>
                </c:pt>
                <c:pt idx="639">
                  <c:v>9521358</c:v>
                </c:pt>
                <c:pt idx="646">
                  <c:v>9586883</c:v>
                </c:pt>
                <c:pt idx="653">
                  <c:v>9661681</c:v>
                </c:pt>
                <c:pt idx="660">
                  <c:v>9711557</c:v>
                </c:pt>
                <c:pt idx="667">
                  <c:v>9820387</c:v>
                </c:pt>
                <c:pt idx="674">
                  <c:v>9935406</c:v>
                </c:pt>
                <c:pt idx="681">
                  <c:v>10041504</c:v>
                </c:pt>
                <c:pt idx="688">
                  <c:v>10176689</c:v>
                </c:pt>
                <c:pt idx="695">
                  <c:v>10232426</c:v>
                </c:pt>
                <c:pt idx="702">
                  <c:v>10316792</c:v>
                </c:pt>
                <c:pt idx="709">
                  <c:v>10423418</c:v>
                </c:pt>
                <c:pt idx="716">
                  <c:v>10511549</c:v>
                </c:pt>
                <c:pt idx="723">
                  <c:v>10590334</c:v>
                </c:pt>
                <c:pt idx="737">
                  <c:v>10741539</c:v>
                </c:pt>
                <c:pt idx="744">
                  <c:v>10803551</c:v>
                </c:pt>
                <c:pt idx="758">
                  <c:v>10894279</c:v>
                </c:pt>
                <c:pt idx="774">
                  <c:v>10963209</c:v>
                </c:pt>
                <c:pt idx="892">
                  <c:v>11200000</c:v>
                </c:pt>
                <c:pt idx="919">
                  <c:v>11300000</c:v>
                </c:pt>
                <c:pt idx="927">
                  <c:v>11421730</c:v>
                </c:pt>
                <c:pt idx="940">
                  <c:v>11483750</c:v>
                </c:pt>
                <c:pt idx="948">
                  <c:v>11534760</c:v>
                </c:pt>
                <c:pt idx="982">
                  <c:v>11713410</c:v>
                </c:pt>
                <c:pt idx="989">
                  <c:v>11732640</c:v>
                </c:pt>
                <c:pt idx="996">
                  <c:v>11750400</c:v>
                </c:pt>
                <c:pt idx="1003">
                  <c:v>11765950</c:v>
                </c:pt>
                <c:pt idx="1010">
                  <c:v>11782540</c:v>
                </c:pt>
                <c:pt idx="1017">
                  <c:v>11799380</c:v>
                </c:pt>
                <c:pt idx="1024">
                  <c:v>11817790</c:v>
                </c:pt>
                <c:pt idx="1039">
                  <c:v>11864190</c:v>
                </c:pt>
                <c:pt idx="1045">
                  <c:v>11888450</c:v>
                </c:pt>
                <c:pt idx="1052">
                  <c:v>11921090</c:v>
                </c:pt>
                <c:pt idx="1059">
                  <c:v>11951150</c:v>
                </c:pt>
                <c:pt idx="1066">
                  <c:v>11989370</c:v>
                </c:pt>
                <c:pt idx="1073">
                  <c:v>12019960</c:v>
                </c:pt>
                <c:pt idx="1080">
                  <c:v>12071460</c:v>
                </c:pt>
                <c:pt idx="1088">
                  <c:v>12126700</c:v>
                </c:pt>
                <c:pt idx="1094">
                  <c:v>12164420</c:v>
                </c:pt>
                <c:pt idx="1131">
                  <c:v>12338020</c:v>
                </c:pt>
                <c:pt idx="1172">
                  <c:v>12437220</c:v>
                </c:pt>
                <c:pt idx="1187">
                  <c:v>12461245</c:v>
                </c:pt>
                <c:pt idx="1215">
                  <c:v>12494041</c:v>
                </c:pt>
                <c:pt idx="1249">
                  <c:v>12530852</c:v>
                </c:pt>
                <c:pt idx="1277">
                  <c:v>12563452</c:v>
                </c:pt>
                <c:pt idx="1316">
                  <c:v>12650121</c:v>
                </c:pt>
                <c:pt idx="1341">
                  <c:v>12732263</c:v>
                </c:pt>
                <c:pt idx="1368">
                  <c:v>12753193</c:v>
                </c:pt>
                <c:pt idx="1401">
                  <c:v>12884384</c:v>
                </c:pt>
                <c:pt idx="1430">
                  <c:v>13021052</c:v>
                </c:pt>
                <c:pt idx="1458">
                  <c:v>13216015</c:v>
                </c:pt>
                <c:pt idx="1492">
                  <c:v>13312659</c:v>
                </c:pt>
                <c:pt idx="1585">
                  <c:v>136187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557-44E9-9224-F8814F95B9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02491120"/>
        <c:axId val="1430200528"/>
      </c:scatterChart>
      <c:valAx>
        <c:axId val="1402491120"/>
        <c:scaling>
          <c:orientation val="minMax"/>
          <c:max val="45990"/>
          <c:min val="4439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30200528"/>
        <c:crosses val="autoZero"/>
        <c:crossBetween val="midCat"/>
        <c:majorUnit val="365"/>
        <c:minorUnit val="30"/>
      </c:valAx>
      <c:valAx>
        <c:axId val="1430200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024911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span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34925" cap="flat" cmpd="sng" algn="ctr">
      <a:noFill/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448177257892915"/>
          <c:y val="2.9129464917783322E-2"/>
          <c:w val="0.78165345151143639"/>
          <c:h val="0.89903992658313903"/>
        </c:manualLayout>
      </c:layout>
      <c:scatterChart>
        <c:scatterStyle val="lineMarker"/>
        <c:varyColors val="0"/>
        <c:ser>
          <c:idx val="0"/>
          <c:order val="0"/>
          <c:tx>
            <c:strRef>
              <c:f>'All COVID-19 vaccine data'!$A$971</c:f>
              <c:strCache>
                <c:ptCount val="1"/>
                <c:pt idx="0">
                  <c:v>7 day daily average</c:v>
                </c:pt>
              </c:strCache>
            </c:strRef>
          </c:tx>
          <c:spPr>
            <a:ln w="63500" cap="rnd">
              <a:solidFill>
                <a:srgbClr val="00B0F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2060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All COVID-19 vaccine data'!$B$959:$BFL$959</c:f>
              <c:numCache>
                <c:formatCode>m/d/yyyy</c:formatCode>
                <c:ptCount val="1519"/>
                <c:pt idx="0">
                  <c:v>44353</c:v>
                </c:pt>
                <c:pt idx="1">
                  <c:v>44354</c:v>
                </c:pt>
                <c:pt idx="2">
                  <c:v>44355</c:v>
                </c:pt>
                <c:pt idx="3">
                  <c:v>44356</c:v>
                </c:pt>
                <c:pt idx="4">
                  <c:v>44357</c:v>
                </c:pt>
                <c:pt idx="5">
                  <c:v>44358</c:v>
                </c:pt>
                <c:pt idx="6">
                  <c:v>44359</c:v>
                </c:pt>
                <c:pt idx="7">
                  <c:v>44360</c:v>
                </c:pt>
                <c:pt idx="8">
                  <c:v>44361</c:v>
                </c:pt>
                <c:pt idx="9">
                  <c:v>44362</c:v>
                </c:pt>
                <c:pt idx="10">
                  <c:v>44363</c:v>
                </c:pt>
                <c:pt idx="11">
                  <c:v>44364</c:v>
                </c:pt>
                <c:pt idx="12">
                  <c:v>44365</c:v>
                </c:pt>
                <c:pt idx="13">
                  <c:v>44366</c:v>
                </c:pt>
                <c:pt idx="14">
                  <c:v>44367</c:v>
                </c:pt>
                <c:pt idx="15">
                  <c:v>44368</c:v>
                </c:pt>
                <c:pt idx="16">
                  <c:v>44369</c:v>
                </c:pt>
                <c:pt idx="17">
                  <c:v>44370</c:v>
                </c:pt>
                <c:pt idx="18">
                  <c:v>44371</c:v>
                </c:pt>
                <c:pt idx="19">
                  <c:v>44372</c:v>
                </c:pt>
                <c:pt idx="20">
                  <c:v>44373</c:v>
                </c:pt>
                <c:pt idx="21">
                  <c:v>44374</c:v>
                </c:pt>
                <c:pt idx="22">
                  <c:v>44375</c:v>
                </c:pt>
                <c:pt idx="23">
                  <c:v>44376</c:v>
                </c:pt>
                <c:pt idx="24">
                  <c:v>44377</c:v>
                </c:pt>
                <c:pt idx="25">
                  <c:v>44378</c:v>
                </c:pt>
                <c:pt idx="26">
                  <c:v>44379</c:v>
                </c:pt>
                <c:pt idx="27">
                  <c:v>44380</c:v>
                </c:pt>
                <c:pt idx="28">
                  <c:v>44381</c:v>
                </c:pt>
                <c:pt idx="29">
                  <c:v>44382</c:v>
                </c:pt>
                <c:pt idx="30">
                  <c:v>44383</c:v>
                </c:pt>
                <c:pt idx="31">
                  <c:v>44384</c:v>
                </c:pt>
                <c:pt idx="32">
                  <c:v>44385</c:v>
                </c:pt>
                <c:pt idx="33">
                  <c:v>44386</c:v>
                </c:pt>
                <c:pt idx="34">
                  <c:v>44387</c:v>
                </c:pt>
                <c:pt idx="35">
                  <c:v>44388</c:v>
                </c:pt>
                <c:pt idx="36">
                  <c:v>44389</c:v>
                </c:pt>
                <c:pt idx="37">
                  <c:v>44390</c:v>
                </c:pt>
                <c:pt idx="38">
                  <c:v>44391</c:v>
                </c:pt>
                <c:pt idx="39">
                  <c:v>44392</c:v>
                </c:pt>
                <c:pt idx="40">
                  <c:v>44393</c:v>
                </c:pt>
                <c:pt idx="41">
                  <c:v>44394</c:v>
                </c:pt>
                <c:pt idx="42">
                  <c:v>44395</c:v>
                </c:pt>
                <c:pt idx="43">
                  <c:v>44396</c:v>
                </c:pt>
                <c:pt idx="44">
                  <c:v>44397</c:v>
                </c:pt>
                <c:pt idx="45">
                  <c:v>44398</c:v>
                </c:pt>
                <c:pt idx="46">
                  <c:v>44399</c:v>
                </c:pt>
                <c:pt idx="47">
                  <c:v>44400</c:v>
                </c:pt>
                <c:pt idx="48">
                  <c:v>44401</c:v>
                </c:pt>
                <c:pt idx="49">
                  <c:v>44402</c:v>
                </c:pt>
                <c:pt idx="50">
                  <c:v>44403</c:v>
                </c:pt>
                <c:pt idx="51">
                  <c:v>44404</c:v>
                </c:pt>
                <c:pt idx="52">
                  <c:v>44405</c:v>
                </c:pt>
                <c:pt idx="53">
                  <c:v>44406</c:v>
                </c:pt>
                <c:pt idx="54">
                  <c:v>44407</c:v>
                </c:pt>
                <c:pt idx="55">
                  <c:v>44408</c:v>
                </c:pt>
                <c:pt idx="56">
                  <c:v>44409</c:v>
                </c:pt>
                <c:pt idx="57">
                  <c:v>44410</c:v>
                </c:pt>
                <c:pt idx="58">
                  <c:v>44411</c:v>
                </c:pt>
                <c:pt idx="59">
                  <c:v>44412</c:v>
                </c:pt>
                <c:pt idx="60">
                  <c:v>44413</c:v>
                </c:pt>
                <c:pt idx="61">
                  <c:v>44414</c:v>
                </c:pt>
                <c:pt idx="62">
                  <c:v>44415</c:v>
                </c:pt>
                <c:pt idx="63">
                  <c:v>44416</c:v>
                </c:pt>
                <c:pt idx="64">
                  <c:v>44417</c:v>
                </c:pt>
                <c:pt idx="65">
                  <c:v>44418</c:v>
                </c:pt>
                <c:pt idx="66">
                  <c:v>44419</c:v>
                </c:pt>
                <c:pt idx="67">
                  <c:v>44420</c:v>
                </c:pt>
                <c:pt idx="68">
                  <c:v>44421</c:v>
                </c:pt>
                <c:pt idx="69">
                  <c:v>44422</c:v>
                </c:pt>
                <c:pt idx="70">
                  <c:v>44423</c:v>
                </c:pt>
                <c:pt idx="71">
                  <c:v>44424</c:v>
                </c:pt>
                <c:pt idx="72">
                  <c:v>44425</c:v>
                </c:pt>
                <c:pt idx="73">
                  <c:v>44426</c:v>
                </c:pt>
                <c:pt idx="74">
                  <c:v>44427</c:v>
                </c:pt>
                <c:pt idx="75">
                  <c:v>44428</c:v>
                </c:pt>
                <c:pt idx="76">
                  <c:v>44429</c:v>
                </c:pt>
                <c:pt idx="77">
                  <c:v>44430</c:v>
                </c:pt>
                <c:pt idx="78">
                  <c:v>44431</c:v>
                </c:pt>
                <c:pt idx="79">
                  <c:v>44432</c:v>
                </c:pt>
                <c:pt idx="80">
                  <c:v>44433</c:v>
                </c:pt>
                <c:pt idx="81">
                  <c:v>44434</c:v>
                </c:pt>
                <c:pt idx="82">
                  <c:v>44435</c:v>
                </c:pt>
                <c:pt idx="83">
                  <c:v>44436</c:v>
                </c:pt>
                <c:pt idx="84">
                  <c:v>44437</c:v>
                </c:pt>
                <c:pt idx="85">
                  <c:v>44438</c:v>
                </c:pt>
                <c:pt idx="86">
                  <c:v>44439</c:v>
                </c:pt>
                <c:pt idx="87">
                  <c:v>44440</c:v>
                </c:pt>
                <c:pt idx="88">
                  <c:v>44441</c:v>
                </c:pt>
                <c:pt idx="89">
                  <c:v>44442</c:v>
                </c:pt>
                <c:pt idx="90">
                  <c:v>44443</c:v>
                </c:pt>
                <c:pt idx="91">
                  <c:v>44444</c:v>
                </c:pt>
                <c:pt idx="92">
                  <c:v>44445</c:v>
                </c:pt>
                <c:pt idx="93">
                  <c:v>44446</c:v>
                </c:pt>
                <c:pt idx="94">
                  <c:v>44447</c:v>
                </c:pt>
                <c:pt idx="95">
                  <c:v>44448</c:v>
                </c:pt>
                <c:pt idx="96">
                  <c:v>44449</c:v>
                </c:pt>
                <c:pt idx="97">
                  <c:v>44450</c:v>
                </c:pt>
                <c:pt idx="98">
                  <c:v>44451</c:v>
                </c:pt>
                <c:pt idx="99">
                  <c:v>44452</c:v>
                </c:pt>
                <c:pt idx="100">
                  <c:v>44453</c:v>
                </c:pt>
                <c:pt idx="101">
                  <c:v>44454</c:v>
                </c:pt>
                <c:pt idx="102">
                  <c:v>44455</c:v>
                </c:pt>
                <c:pt idx="103">
                  <c:v>44456</c:v>
                </c:pt>
                <c:pt idx="104">
                  <c:v>44457</c:v>
                </c:pt>
                <c:pt idx="105">
                  <c:v>44458</c:v>
                </c:pt>
                <c:pt idx="106">
                  <c:v>44459</c:v>
                </c:pt>
                <c:pt idx="107">
                  <c:v>44460</c:v>
                </c:pt>
                <c:pt idx="108">
                  <c:v>44461</c:v>
                </c:pt>
                <c:pt idx="109">
                  <c:v>44462</c:v>
                </c:pt>
                <c:pt idx="110">
                  <c:v>44463</c:v>
                </c:pt>
                <c:pt idx="111">
                  <c:v>44464</c:v>
                </c:pt>
                <c:pt idx="112">
                  <c:v>44465</c:v>
                </c:pt>
                <c:pt idx="113">
                  <c:v>44466</c:v>
                </c:pt>
                <c:pt idx="114">
                  <c:v>44467</c:v>
                </c:pt>
                <c:pt idx="115">
                  <c:v>44468</c:v>
                </c:pt>
                <c:pt idx="116">
                  <c:v>44469</c:v>
                </c:pt>
                <c:pt idx="117">
                  <c:v>44470</c:v>
                </c:pt>
                <c:pt idx="118">
                  <c:v>44471</c:v>
                </c:pt>
                <c:pt idx="119">
                  <c:v>44472</c:v>
                </c:pt>
                <c:pt idx="120">
                  <c:v>44473</c:v>
                </c:pt>
                <c:pt idx="121">
                  <c:v>44474</c:v>
                </c:pt>
                <c:pt idx="122">
                  <c:v>44475</c:v>
                </c:pt>
                <c:pt idx="123">
                  <c:v>44476</c:v>
                </c:pt>
                <c:pt idx="124">
                  <c:v>44477</c:v>
                </c:pt>
                <c:pt idx="125">
                  <c:v>44478</c:v>
                </c:pt>
                <c:pt idx="126">
                  <c:v>44479</c:v>
                </c:pt>
                <c:pt idx="127">
                  <c:v>44480</c:v>
                </c:pt>
                <c:pt idx="128">
                  <c:v>44481</c:v>
                </c:pt>
                <c:pt idx="129">
                  <c:v>44482</c:v>
                </c:pt>
                <c:pt idx="130">
                  <c:v>44483</c:v>
                </c:pt>
                <c:pt idx="131">
                  <c:v>44484</c:v>
                </c:pt>
                <c:pt idx="132">
                  <c:v>44485</c:v>
                </c:pt>
                <c:pt idx="133">
                  <c:v>44486</c:v>
                </c:pt>
                <c:pt idx="134">
                  <c:v>44487</c:v>
                </c:pt>
                <c:pt idx="135">
                  <c:v>44488</c:v>
                </c:pt>
                <c:pt idx="136">
                  <c:v>44489</c:v>
                </c:pt>
                <c:pt idx="137">
                  <c:v>44490</c:v>
                </c:pt>
                <c:pt idx="138">
                  <c:v>44491</c:v>
                </c:pt>
                <c:pt idx="139">
                  <c:v>44492</c:v>
                </c:pt>
                <c:pt idx="140">
                  <c:v>44493</c:v>
                </c:pt>
                <c:pt idx="141">
                  <c:v>44494</c:v>
                </c:pt>
                <c:pt idx="142">
                  <c:v>44495</c:v>
                </c:pt>
                <c:pt idx="143">
                  <c:v>44496</c:v>
                </c:pt>
                <c:pt idx="144">
                  <c:v>44497</c:v>
                </c:pt>
                <c:pt idx="145">
                  <c:v>44498</c:v>
                </c:pt>
                <c:pt idx="146">
                  <c:v>44499</c:v>
                </c:pt>
                <c:pt idx="147">
                  <c:v>44500</c:v>
                </c:pt>
                <c:pt idx="148">
                  <c:v>44501</c:v>
                </c:pt>
                <c:pt idx="149">
                  <c:v>44502</c:v>
                </c:pt>
                <c:pt idx="150">
                  <c:v>44503</c:v>
                </c:pt>
                <c:pt idx="151">
                  <c:v>44504</c:v>
                </c:pt>
                <c:pt idx="152">
                  <c:v>44505</c:v>
                </c:pt>
                <c:pt idx="153">
                  <c:v>44506</c:v>
                </c:pt>
                <c:pt idx="154">
                  <c:v>44507</c:v>
                </c:pt>
                <c:pt idx="155">
                  <c:v>44508</c:v>
                </c:pt>
                <c:pt idx="156">
                  <c:v>44509</c:v>
                </c:pt>
                <c:pt idx="157">
                  <c:v>44510</c:v>
                </c:pt>
                <c:pt idx="158">
                  <c:v>44511</c:v>
                </c:pt>
                <c:pt idx="159">
                  <c:v>44512</c:v>
                </c:pt>
                <c:pt idx="160">
                  <c:v>44513</c:v>
                </c:pt>
                <c:pt idx="161">
                  <c:v>44514</c:v>
                </c:pt>
                <c:pt idx="162">
                  <c:v>44515</c:v>
                </c:pt>
                <c:pt idx="163">
                  <c:v>44516</c:v>
                </c:pt>
                <c:pt idx="164">
                  <c:v>44517</c:v>
                </c:pt>
                <c:pt idx="165">
                  <c:v>44518</c:v>
                </c:pt>
                <c:pt idx="166">
                  <c:v>44519</c:v>
                </c:pt>
                <c:pt idx="167">
                  <c:v>44520</c:v>
                </c:pt>
                <c:pt idx="168">
                  <c:v>44521</c:v>
                </c:pt>
                <c:pt idx="169">
                  <c:v>44522</c:v>
                </c:pt>
                <c:pt idx="170">
                  <c:v>44523</c:v>
                </c:pt>
                <c:pt idx="171">
                  <c:v>44524</c:v>
                </c:pt>
                <c:pt idx="172">
                  <c:v>44525</c:v>
                </c:pt>
                <c:pt idx="173">
                  <c:v>44526</c:v>
                </c:pt>
                <c:pt idx="174">
                  <c:v>44527</c:v>
                </c:pt>
                <c:pt idx="175">
                  <c:v>44528</c:v>
                </c:pt>
                <c:pt idx="176">
                  <c:v>44529</c:v>
                </c:pt>
                <c:pt idx="177">
                  <c:v>44530</c:v>
                </c:pt>
                <c:pt idx="178">
                  <c:v>44531</c:v>
                </c:pt>
                <c:pt idx="179">
                  <c:v>44532</c:v>
                </c:pt>
                <c:pt idx="180">
                  <c:v>44533</c:v>
                </c:pt>
                <c:pt idx="181">
                  <c:v>44534</c:v>
                </c:pt>
                <c:pt idx="182">
                  <c:v>44535</c:v>
                </c:pt>
                <c:pt idx="183">
                  <c:v>44536</c:v>
                </c:pt>
                <c:pt idx="184">
                  <c:v>44537</c:v>
                </c:pt>
                <c:pt idx="185">
                  <c:v>44538</c:v>
                </c:pt>
                <c:pt idx="186">
                  <c:v>44539</c:v>
                </c:pt>
                <c:pt idx="187">
                  <c:v>44540</c:v>
                </c:pt>
                <c:pt idx="188">
                  <c:v>44541</c:v>
                </c:pt>
                <c:pt idx="189">
                  <c:v>44542</c:v>
                </c:pt>
                <c:pt idx="190">
                  <c:v>44543</c:v>
                </c:pt>
                <c:pt idx="191">
                  <c:v>44544</c:v>
                </c:pt>
                <c:pt idx="192">
                  <c:v>44545</c:v>
                </c:pt>
                <c:pt idx="193">
                  <c:v>44546</c:v>
                </c:pt>
                <c:pt idx="194">
                  <c:v>44547</c:v>
                </c:pt>
                <c:pt idx="195">
                  <c:v>44548</c:v>
                </c:pt>
                <c:pt idx="196">
                  <c:v>44549</c:v>
                </c:pt>
                <c:pt idx="197">
                  <c:v>44550</c:v>
                </c:pt>
                <c:pt idx="198">
                  <c:v>44551</c:v>
                </c:pt>
                <c:pt idx="199">
                  <c:v>44552</c:v>
                </c:pt>
                <c:pt idx="200">
                  <c:v>44553</c:v>
                </c:pt>
                <c:pt idx="201">
                  <c:v>44554</c:v>
                </c:pt>
                <c:pt idx="202">
                  <c:v>44555</c:v>
                </c:pt>
                <c:pt idx="203">
                  <c:v>44556</c:v>
                </c:pt>
                <c:pt idx="204">
                  <c:v>44557</c:v>
                </c:pt>
                <c:pt idx="205">
                  <c:v>44558</c:v>
                </c:pt>
                <c:pt idx="206">
                  <c:v>44559</c:v>
                </c:pt>
                <c:pt idx="207">
                  <c:v>44560</c:v>
                </c:pt>
                <c:pt idx="208">
                  <c:v>44561</c:v>
                </c:pt>
                <c:pt idx="209">
                  <c:v>44562</c:v>
                </c:pt>
                <c:pt idx="210">
                  <c:v>44563</c:v>
                </c:pt>
                <c:pt idx="211">
                  <c:v>44564</c:v>
                </c:pt>
                <c:pt idx="212">
                  <c:v>44565</c:v>
                </c:pt>
                <c:pt idx="213">
                  <c:v>44566</c:v>
                </c:pt>
                <c:pt idx="214">
                  <c:v>44567</c:v>
                </c:pt>
                <c:pt idx="215">
                  <c:v>44568</c:v>
                </c:pt>
                <c:pt idx="216">
                  <c:v>44569</c:v>
                </c:pt>
                <c:pt idx="217">
                  <c:v>44570</c:v>
                </c:pt>
                <c:pt idx="218">
                  <c:v>44571</c:v>
                </c:pt>
                <c:pt idx="219">
                  <c:v>44572</c:v>
                </c:pt>
                <c:pt idx="220">
                  <c:v>44573</c:v>
                </c:pt>
                <c:pt idx="221">
                  <c:v>44574</c:v>
                </c:pt>
                <c:pt idx="222">
                  <c:v>44575</c:v>
                </c:pt>
                <c:pt idx="223">
                  <c:v>44576</c:v>
                </c:pt>
                <c:pt idx="224">
                  <c:v>44577</c:v>
                </c:pt>
                <c:pt idx="225">
                  <c:v>44578</c:v>
                </c:pt>
                <c:pt idx="226">
                  <c:v>44579</c:v>
                </c:pt>
                <c:pt idx="227">
                  <c:v>44580</c:v>
                </c:pt>
                <c:pt idx="228">
                  <c:v>44581</c:v>
                </c:pt>
                <c:pt idx="229">
                  <c:v>44582</c:v>
                </c:pt>
                <c:pt idx="230">
                  <c:v>44583</c:v>
                </c:pt>
                <c:pt idx="231">
                  <c:v>44584</c:v>
                </c:pt>
                <c:pt idx="232">
                  <c:v>44585</c:v>
                </c:pt>
                <c:pt idx="233">
                  <c:v>44586</c:v>
                </c:pt>
                <c:pt idx="234">
                  <c:v>44587</c:v>
                </c:pt>
                <c:pt idx="235">
                  <c:v>44588</c:v>
                </c:pt>
                <c:pt idx="236">
                  <c:v>44589</c:v>
                </c:pt>
                <c:pt idx="237">
                  <c:v>44590</c:v>
                </c:pt>
                <c:pt idx="238">
                  <c:v>44591</c:v>
                </c:pt>
                <c:pt idx="239">
                  <c:v>44592</c:v>
                </c:pt>
                <c:pt idx="240">
                  <c:v>44593</c:v>
                </c:pt>
                <c:pt idx="241">
                  <c:v>44594</c:v>
                </c:pt>
                <c:pt idx="242">
                  <c:v>44595</c:v>
                </c:pt>
                <c:pt idx="243">
                  <c:v>44596</c:v>
                </c:pt>
                <c:pt idx="244">
                  <c:v>44597</c:v>
                </c:pt>
                <c:pt idx="245">
                  <c:v>44598</c:v>
                </c:pt>
                <c:pt idx="246">
                  <c:v>44599</c:v>
                </c:pt>
                <c:pt idx="247">
                  <c:v>44600</c:v>
                </c:pt>
                <c:pt idx="248">
                  <c:v>44601</c:v>
                </c:pt>
                <c:pt idx="249">
                  <c:v>44602</c:v>
                </c:pt>
                <c:pt idx="250">
                  <c:v>44603</c:v>
                </c:pt>
                <c:pt idx="251">
                  <c:v>44604</c:v>
                </c:pt>
                <c:pt idx="252">
                  <c:v>44605</c:v>
                </c:pt>
                <c:pt idx="253">
                  <c:v>44606</c:v>
                </c:pt>
                <c:pt idx="254">
                  <c:v>44607</c:v>
                </c:pt>
                <c:pt idx="255">
                  <c:v>44608</c:v>
                </c:pt>
                <c:pt idx="256">
                  <c:v>44609</c:v>
                </c:pt>
                <c:pt idx="257">
                  <c:v>44610</c:v>
                </c:pt>
                <c:pt idx="258">
                  <c:v>44611</c:v>
                </c:pt>
                <c:pt idx="259">
                  <c:v>44612</c:v>
                </c:pt>
                <c:pt idx="260">
                  <c:v>44613</c:v>
                </c:pt>
                <c:pt idx="261">
                  <c:v>44614</c:v>
                </c:pt>
                <c:pt idx="262">
                  <c:v>44615</c:v>
                </c:pt>
                <c:pt idx="263">
                  <c:v>44616</c:v>
                </c:pt>
                <c:pt idx="264">
                  <c:v>44617</c:v>
                </c:pt>
                <c:pt idx="265">
                  <c:v>44618</c:v>
                </c:pt>
                <c:pt idx="266">
                  <c:v>44619</c:v>
                </c:pt>
                <c:pt idx="267">
                  <c:v>44620</c:v>
                </c:pt>
                <c:pt idx="268">
                  <c:v>44621</c:v>
                </c:pt>
                <c:pt idx="269">
                  <c:v>44622</c:v>
                </c:pt>
                <c:pt idx="270">
                  <c:v>44623</c:v>
                </c:pt>
                <c:pt idx="271">
                  <c:v>44624</c:v>
                </c:pt>
                <c:pt idx="272">
                  <c:v>44625</c:v>
                </c:pt>
                <c:pt idx="273">
                  <c:v>44626</c:v>
                </c:pt>
                <c:pt idx="274">
                  <c:v>44627</c:v>
                </c:pt>
                <c:pt idx="275">
                  <c:v>44628</c:v>
                </c:pt>
                <c:pt idx="276">
                  <c:v>44629</c:v>
                </c:pt>
                <c:pt idx="277">
                  <c:v>44630</c:v>
                </c:pt>
                <c:pt idx="278">
                  <c:v>44631</c:v>
                </c:pt>
                <c:pt idx="279">
                  <c:v>44632</c:v>
                </c:pt>
                <c:pt idx="280">
                  <c:v>44633</c:v>
                </c:pt>
                <c:pt idx="281">
                  <c:v>44634</c:v>
                </c:pt>
                <c:pt idx="282">
                  <c:v>44635</c:v>
                </c:pt>
                <c:pt idx="283">
                  <c:v>44636</c:v>
                </c:pt>
                <c:pt idx="284">
                  <c:v>44637</c:v>
                </c:pt>
                <c:pt idx="285">
                  <c:v>44638</c:v>
                </c:pt>
                <c:pt idx="286">
                  <c:v>44639</c:v>
                </c:pt>
                <c:pt idx="287">
                  <c:v>44640</c:v>
                </c:pt>
                <c:pt idx="288">
                  <c:v>44641</c:v>
                </c:pt>
                <c:pt idx="289">
                  <c:v>44642</c:v>
                </c:pt>
                <c:pt idx="290">
                  <c:v>44643</c:v>
                </c:pt>
                <c:pt idx="291">
                  <c:v>44644</c:v>
                </c:pt>
                <c:pt idx="292">
                  <c:v>44645</c:v>
                </c:pt>
                <c:pt idx="293">
                  <c:v>44646</c:v>
                </c:pt>
                <c:pt idx="294">
                  <c:v>44647</c:v>
                </c:pt>
                <c:pt idx="295">
                  <c:v>44648</c:v>
                </c:pt>
                <c:pt idx="296">
                  <c:v>44649</c:v>
                </c:pt>
                <c:pt idx="297">
                  <c:v>44650</c:v>
                </c:pt>
                <c:pt idx="298">
                  <c:v>44651</c:v>
                </c:pt>
                <c:pt idx="299">
                  <c:v>44652</c:v>
                </c:pt>
                <c:pt idx="300">
                  <c:v>44653</c:v>
                </c:pt>
                <c:pt idx="301">
                  <c:v>44654</c:v>
                </c:pt>
                <c:pt idx="302">
                  <c:v>44655</c:v>
                </c:pt>
                <c:pt idx="303">
                  <c:v>44656</c:v>
                </c:pt>
                <c:pt idx="304">
                  <c:v>44657</c:v>
                </c:pt>
                <c:pt idx="305">
                  <c:v>44658</c:v>
                </c:pt>
                <c:pt idx="306">
                  <c:v>44659</c:v>
                </c:pt>
                <c:pt idx="307">
                  <c:v>44660</c:v>
                </c:pt>
                <c:pt idx="308">
                  <c:v>44661</c:v>
                </c:pt>
                <c:pt idx="309">
                  <c:v>44662</c:v>
                </c:pt>
                <c:pt idx="310">
                  <c:v>44663</c:v>
                </c:pt>
                <c:pt idx="311">
                  <c:v>44664</c:v>
                </c:pt>
                <c:pt idx="312">
                  <c:v>44665</c:v>
                </c:pt>
                <c:pt idx="313">
                  <c:v>44666</c:v>
                </c:pt>
                <c:pt idx="314">
                  <c:v>44667</c:v>
                </c:pt>
                <c:pt idx="315">
                  <c:v>44668</c:v>
                </c:pt>
                <c:pt idx="316">
                  <c:v>44669</c:v>
                </c:pt>
                <c:pt idx="317">
                  <c:v>44670</c:v>
                </c:pt>
                <c:pt idx="318">
                  <c:v>44671</c:v>
                </c:pt>
                <c:pt idx="319">
                  <c:v>44672</c:v>
                </c:pt>
                <c:pt idx="320">
                  <c:v>44673</c:v>
                </c:pt>
                <c:pt idx="321">
                  <c:v>44674</c:v>
                </c:pt>
                <c:pt idx="322">
                  <c:v>44675</c:v>
                </c:pt>
                <c:pt idx="323">
                  <c:v>44676</c:v>
                </c:pt>
                <c:pt idx="324">
                  <c:v>44677</c:v>
                </c:pt>
                <c:pt idx="325">
                  <c:v>44678</c:v>
                </c:pt>
                <c:pt idx="326">
                  <c:v>44679</c:v>
                </c:pt>
                <c:pt idx="327">
                  <c:v>44680</c:v>
                </c:pt>
                <c:pt idx="328">
                  <c:v>44681</c:v>
                </c:pt>
                <c:pt idx="329">
                  <c:v>44682</c:v>
                </c:pt>
                <c:pt idx="330">
                  <c:v>44683</c:v>
                </c:pt>
                <c:pt idx="331">
                  <c:v>44684</c:v>
                </c:pt>
                <c:pt idx="332">
                  <c:v>44685</c:v>
                </c:pt>
                <c:pt idx="333">
                  <c:v>44686</c:v>
                </c:pt>
                <c:pt idx="334">
                  <c:v>44687</c:v>
                </c:pt>
                <c:pt idx="335">
                  <c:v>44688</c:v>
                </c:pt>
                <c:pt idx="336">
                  <c:v>44689</c:v>
                </c:pt>
                <c:pt idx="337">
                  <c:v>44690</c:v>
                </c:pt>
                <c:pt idx="338">
                  <c:v>44691</c:v>
                </c:pt>
                <c:pt idx="339">
                  <c:v>44692</c:v>
                </c:pt>
                <c:pt idx="340">
                  <c:v>44693</c:v>
                </c:pt>
                <c:pt idx="341">
                  <c:v>44694</c:v>
                </c:pt>
                <c:pt idx="342">
                  <c:v>44695</c:v>
                </c:pt>
                <c:pt idx="343">
                  <c:v>44696</c:v>
                </c:pt>
                <c:pt idx="344">
                  <c:v>44697</c:v>
                </c:pt>
                <c:pt idx="345">
                  <c:v>44698</c:v>
                </c:pt>
                <c:pt idx="346">
                  <c:v>44699</c:v>
                </c:pt>
                <c:pt idx="347">
                  <c:v>44700</c:v>
                </c:pt>
                <c:pt idx="348">
                  <c:v>44701</c:v>
                </c:pt>
                <c:pt idx="349">
                  <c:v>44702</c:v>
                </c:pt>
                <c:pt idx="350">
                  <c:v>44703</c:v>
                </c:pt>
                <c:pt idx="351">
                  <c:v>44704</c:v>
                </c:pt>
                <c:pt idx="352">
                  <c:v>44705</c:v>
                </c:pt>
                <c:pt idx="353">
                  <c:v>44706</c:v>
                </c:pt>
                <c:pt idx="354">
                  <c:v>44707</c:v>
                </c:pt>
                <c:pt idx="355">
                  <c:v>44708</c:v>
                </c:pt>
                <c:pt idx="356">
                  <c:v>44709</c:v>
                </c:pt>
                <c:pt idx="357">
                  <c:v>44710</c:v>
                </c:pt>
                <c:pt idx="358">
                  <c:v>44711</c:v>
                </c:pt>
                <c:pt idx="359">
                  <c:v>44712</c:v>
                </c:pt>
                <c:pt idx="360">
                  <c:v>44713</c:v>
                </c:pt>
                <c:pt idx="361">
                  <c:v>44714</c:v>
                </c:pt>
                <c:pt idx="362">
                  <c:v>44715</c:v>
                </c:pt>
                <c:pt idx="363">
                  <c:v>44716</c:v>
                </c:pt>
                <c:pt idx="364">
                  <c:v>44717</c:v>
                </c:pt>
                <c:pt idx="365">
                  <c:v>44718</c:v>
                </c:pt>
                <c:pt idx="366">
                  <c:v>44719</c:v>
                </c:pt>
                <c:pt idx="367">
                  <c:v>44720</c:v>
                </c:pt>
                <c:pt idx="368">
                  <c:v>44721</c:v>
                </c:pt>
                <c:pt idx="369">
                  <c:v>44722</c:v>
                </c:pt>
                <c:pt idx="370">
                  <c:v>44723</c:v>
                </c:pt>
                <c:pt idx="371">
                  <c:v>44724</c:v>
                </c:pt>
                <c:pt idx="372">
                  <c:v>44725</c:v>
                </c:pt>
                <c:pt idx="373">
                  <c:v>44726</c:v>
                </c:pt>
                <c:pt idx="374">
                  <c:v>44727</c:v>
                </c:pt>
                <c:pt idx="375">
                  <c:v>44728</c:v>
                </c:pt>
                <c:pt idx="376">
                  <c:v>44729</c:v>
                </c:pt>
                <c:pt idx="377">
                  <c:v>44730</c:v>
                </c:pt>
                <c:pt idx="378">
                  <c:v>44731</c:v>
                </c:pt>
                <c:pt idx="379">
                  <c:v>44732</c:v>
                </c:pt>
                <c:pt idx="380">
                  <c:v>44733</c:v>
                </c:pt>
                <c:pt idx="381">
                  <c:v>44734</c:v>
                </c:pt>
                <c:pt idx="382">
                  <c:v>44735</c:v>
                </c:pt>
                <c:pt idx="383">
                  <c:v>44736</c:v>
                </c:pt>
                <c:pt idx="384">
                  <c:v>44737</c:v>
                </c:pt>
                <c:pt idx="385">
                  <c:v>44738</c:v>
                </c:pt>
                <c:pt idx="386">
                  <c:v>44739</c:v>
                </c:pt>
                <c:pt idx="387">
                  <c:v>44740</c:v>
                </c:pt>
                <c:pt idx="388">
                  <c:v>44741</c:v>
                </c:pt>
                <c:pt idx="389">
                  <c:v>44742</c:v>
                </c:pt>
                <c:pt idx="390">
                  <c:v>44743</c:v>
                </c:pt>
                <c:pt idx="391">
                  <c:v>44744</c:v>
                </c:pt>
                <c:pt idx="392">
                  <c:v>44745</c:v>
                </c:pt>
                <c:pt idx="393">
                  <c:v>44746</c:v>
                </c:pt>
                <c:pt idx="394">
                  <c:v>44747</c:v>
                </c:pt>
                <c:pt idx="395">
                  <c:v>44748</c:v>
                </c:pt>
                <c:pt idx="396">
                  <c:v>44749</c:v>
                </c:pt>
                <c:pt idx="397">
                  <c:v>44750</c:v>
                </c:pt>
                <c:pt idx="398">
                  <c:v>44751</c:v>
                </c:pt>
                <c:pt idx="399">
                  <c:v>44752</c:v>
                </c:pt>
                <c:pt idx="400">
                  <c:v>44753</c:v>
                </c:pt>
                <c:pt idx="401">
                  <c:v>44754</c:v>
                </c:pt>
                <c:pt idx="402">
                  <c:v>44755</c:v>
                </c:pt>
                <c:pt idx="403">
                  <c:v>44756</c:v>
                </c:pt>
                <c:pt idx="404">
                  <c:v>44757</c:v>
                </c:pt>
                <c:pt idx="405">
                  <c:v>44758</c:v>
                </c:pt>
                <c:pt idx="406">
                  <c:v>44759</c:v>
                </c:pt>
                <c:pt idx="407">
                  <c:v>44760</c:v>
                </c:pt>
                <c:pt idx="408">
                  <c:v>44761</c:v>
                </c:pt>
                <c:pt idx="409">
                  <c:v>44762</c:v>
                </c:pt>
                <c:pt idx="410">
                  <c:v>44763</c:v>
                </c:pt>
                <c:pt idx="411">
                  <c:v>44764</c:v>
                </c:pt>
                <c:pt idx="412">
                  <c:v>44765</c:v>
                </c:pt>
                <c:pt idx="413">
                  <c:v>44766</c:v>
                </c:pt>
                <c:pt idx="414">
                  <c:v>44767</c:v>
                </c:pt>
                <c:pt idx="415">
                  <c:v>44768</c:v>
                </c:pt>
                <c:pt idx="416">
                  <c:v>44769</c:v>
                </c:pt>
                <c:pt idx="417">
                  <c:v>44770</c:v>
                </c:pt>
                <c:pt idx="418">
                  <c:v>44771</c:v>
                </c:pt>
                <c:pt idx="419">
                  <c:v>44772</c:v>
                </c:pt>
                <c:pt idx="420">
                  <c:v>44773</c:v>
                </c:pt>
                <c:pt idx="421">
                  <c:v>44774</c:v>
                </c:pt>
                <c:pt idx="422">
                  <c:v>44775</c:v>
                </c:pt>
                <c:pt idx="423">
                  <c:v>44776</c:v>
                </c:pt>
                <c:pt idx="424">
                  <c:v>44777</c:v>
                </c:pt>
                <c:pt idx="425">
                  <c:v>44778</c:v>
                </c:pt>
                <c:pt idx="426">
                  <c:v>44779</c:v>
                </c:pt>
                <c:pt idx="427">
                  <c:v>44780</c:v>
                </c:pt>
                <c:pt idx="428">
                  <c:v>44781</c:v>
                </c:pt>
                <c:pt idx="429">
                  <c:v>44782</c:v>
                </c:pt>
                <c:pt idx="430">
                  <c:v>44783</c:v>
                </c:pt>
                <c:pt idx="431">
                  <c:v>44784</c:v>
                </c:pt>
                <c:pt idx="432">
                  <c:v>44785</c:v>
                </c:pt>
                <c:pt idx="433">
                  <c:v>44786</c:v>
                </c:pt>
                <c:pt idx="434">
                  <c:v>44787</c:v>
                </c:pt>
                <c:pt idx="435">
                  <c:v>44788</c:v>
                </c:pt>
                <c:pt idx="436">
                  <c:v>44789</c:v>
                </c:pt>
                <c:pt idx="437">
                  <c:v>44790</c:v>
                </c:pt>
                <c:pt idx="438">
                  <c:v>44791</c:v>
                </c:pt>
                <c:pt idx="439">
                  <c:v>44792</c:v>
                </c:pt>
                <c:pt idx="440">
                  <c:v>44793</c:v>
                </c:pt>
                <c:pt idx="441">
                  <c:v>44794</c:v>
                </c:pt>
                <c:pt idx="442">
                  <c:v>44795</c:v>
                </c:pt>
                <c:pt idx="443">
                  <c:v>44796</c:v>
                </c:pt>
                <c:pt idx="444">
                  <c:v>44797</c:v>
                </c:pt>
                <c:pt idx="445">
                  <c:v>44798</c:v>
                </c:pt>
                <c:pt idx="446">
                  <c:v>44799</c:v>
                </c:pt>
                <c:pt idx="447">
                  <c:v>44800</c:v>
                </c:pt>
                <c:pt idx="448">
                  <c:v>44801</c:v>
                </c:pt>
                <c:pt idx="449">
                  <c:v>44802</c:v>
                </c:pt>
                <c:pt idx="450">
                  <c:v>44803</c:v>
                </c:pt>
                <c:pt idx="451">
                  <c:v>44804</c:v>
                </c:pt>
                <c:pt idx="452">
                  <c:v>44805</c:v>
                </c:pt>
                <c:pt idx="453">
                  <c:v>44806</c:v>
                </c:pt>
                <c:pt idx="454">
                  <c:v>44807</c:v>
                </c:pt>
                <c:pt idx="455">
                  <c:v>44808</c:v>
                </c:pt>
                <c:pt idx="456">
                  <c:v>44809</c:v>
                </c:pt>
                <c:pt idx="457">
                  <c:v>44810</c:v>
                </c:pt>
                <c:pt idx="458">
                  <c:v>44811</c:v>
                </c:pt>
                <c:pt idx="459">
                  <c:v>44812</c:v>
                </c:pt>
                <c:pt idx="460">
                  <c:v>44813</c:v>
                </c:pt>
                <c:pt idx="461">
                  <c:v>44814</c:v>
                </c:pt>
                <c:pt idx="462">
                  <c:v>44815</c:v>
                </c:pt>
                <c:pt idx="463">
                  <c:v>44816</c:v>
                </c:pt>
                <c:pt idx="464">
                  <c:v>44817</c:v>
                </c:pt>
                <c:pt idx="465">
                  <c:v>44818</c:v>
                </c:pt>
                <c:pt idx="466">
                  <c:v>44819</c:v>
                </c:pt>
                <c:pt idx="467">
                  <c:v>44820</c:v>
                </c:pt>
                <c:pt idx="468">
                  <c:v>44821</c:v>
                </c:pt>
                <c:pt idx="469">
                  <c:v>44822</c:v>
                </c:pt>
                <c:pt idx="470">
                  <c:v>44823</c:v>
                </c:pt>
                <c:pt idx="471">
                  <c:v>44824</c:v>
                </c:pt>
                <c:pt idx="472">
                  <c:v>44825</c:v>
                </c:pt>
                <c:pt idx="473">
                  <c:v>44826</c:v>
                </c:pt>
                <c:pt idx="474">
                  <c:v>44827</c:v>
                </c:pt>
                <c:pt idx="475">
                  <c:v>44828</c:v>
                </c:pt>
                <c:pt idx="476">
                  <c:v>44829</c:v>
                </c:pt>
                <c:pt idx="477">
                  <c:v>44830</c:v>
                </c:pt>
                <c:pt idx="478">
                  <c:v>44831</c:v>
                </c:pt>
                <c:pt idx="479">
                  <c:v>44832</c:v>
                </c:pt>
                <c:pt idx="480">
                  <c:v>44833</c:v>
                </c:pt>
                <c:pt idx="481">
                  <c:v>44834</c:v>
                </c:pt>
                <c:pt idx="482">
                  <c:v>44835</c:v>
                </c:pt>
                <c:pt idx="483">
                  <c:v>44836</c:v>
                </c:pt>
                <c:pt idx="484">
                  <c:v>44837</c:v>
                </c:pt>
                <c:pt idx="485">
                  <c:v>44838</c:v>
                </c:pt>
                <c:pt idx="486">
                  <c:v>44839</c:v>
                </c:pt>
                <c:pt idx="487">
                  <c:v>44840</c:v>
                </c:pt>
                <c:pt idx="488">
                  <c:v>44841</c:v>
                </c:pt>
                <c:pt idx="489">
                  <c:v>44842</c:v>
                </c:pt>
                <c:pt idx="490">
                  <c:v>44843</c:v>
                </c:pt>
                <c:pt idx="491">
                  <c:v>44844</c:v>
                </c:pt>
                <c:pt idx="492">
                  <c:v>44845</c:v>
                </c:pt>
                <c:pt idx="493">
                  <c:v>44846</c:v>
                </c:pt>
                <c:pt idx="494">
                  <c:v>44847</c:v>
                </c:pt>
                <c:pt idx="495">
                  <c:v>44848</c:v>
                </c:pt>
                <c:pt idx="496">
                  <c:v>44849</c:v>
                </c:pt>
                <c:pt idx="497">
                  <c:v>44850</c:v>
                </c:pt>
                <c:pt idx="498">
                  <c:v>44851</c:v>
                </c:pt>
                <c:pt idx="499">
                  <c:v>44852</c:v>
                </c:pt>
                <c:pt idx="500">
                  <c:v>44853</c:v>
                </c:pt>
                <c:pt idx="501">
                  <c:v>44854</c:v>
                </c:pt>
                <c:pt idx="502">
                  <c:v>44855</c:v>
                </c:pt>
                <c:pt idx="503">
                  <c:v>44856</c:v>
                </c:pt>
                <c:pt idx="504">
                  <c:v>44857</c:v>
                </c:pt>
                <c:pt idx="505">
                  <c:v>44858</c:v>
                </c:pt>
                <c:pt idx="506">
                  <c:v>44859</c:v>
                </c:pt>
                <c:pt idx="507">
                  <c:v>44860</c:v>
                </c:pt>
                <c:pt idx="508">
                  <c:v>44861</c:v>
                </c:pt>
                <c:pt idx="509">
                  <c:v>44862</c:v>
                </c:pt>
                <c:pt idx="510">
                  <c:v>44863</c:v>
                </c:pt>
                <c:pt idx="511">
                  <c:v>44864</c:v>
                </c:pt>
                <c:pt idx="512">
                  <c:v>44865</c:v>
                </c:pt>
                <c:pt idx="513">
                  <c:v>44866</c:v>
                </c:pt>
                <c:pt idx="514">
                  <c:v>44867</c:v>
                </c:pt>
                <c:pt idx="515">
                  <c:v>44868</c:v>
                </c:pt>
                <c:pt idx="516">
                  <c:v>44869</c:v>
                </c:pt>
                <c:pt idx="517">
                  <c:v>44870</c:v>
                </c:pt>
                <c:pt idx="518">
                  <c:v>44871</c:v>
                </c:pt>
                <c:pt idx="519">
                  <c:v>44872</c:v>
                </c:pt>
                <c:pt idx="520">
                  <c:v>44873</c:v>
                </c:pt>
                <c:pt idx="521">
                  <c:v>44874</c:v>
                </c:pt>
                <c:pt idx="522">
                  <c:v>44875</c:v>
                </c:pt>
                <c:pt idx="523">
                  <c:v>44876</c:v>
                </c:pt>
                <c:pt idx="524">
                  <c:v>44877</c:v>
                </c:pt>
                <c:pt idx="525">
                  <c:v>44878</c:v>
                </c:pt>
                <c:pt idx="526">
                  <c:v>44879</c:v>
                </c:pt>
                <c:pt idx="527">
                  <c:v>44880</c:v>
                </c:pt>
                <c:pt idx="528">
                  <c:v>44881</c:v>
                </c:pt>
                <c:pt idx="529">
                  <c:v>44882</c:v>
                </c:pt>
                <c:pt idx="530">
                  <c:v>44883</c:v>
                </c:pt>
                <c:pt idx="531">
                  <c:v>44884</c:v>
                </c:pt>
                <c:pt idx="532">
                  <c:v>44885</c:v>
                </c:pt>
                <c:pt idx="533">
                  <c:v>44886</c:v>
                </c:pt>
                <c:pt idx="534">
                  <c:v>44887</c:v>
                </c:pt>
                <c:pt idx="535">
                  <c:v>44888</c:v>
                </c:pt>
                <c:pt idx="536">
                  <c:v>44889</c:v>
                </c:pt>
                <c:pt idx="537">
                  <c:v>44890</c:v>
                </c:pt>
                <c:pt idx="538">
                  <c:v>44891</c:v>
                </c:pt>
                <c:pt idx="539">
                  <c:v>44892</c:v>
                </c:pt>
                <c:pt idx="540">
                  <c:v>44893</c:v>
                </c:pt>
                <c:pt idx="541">
                  <c:v>44894</c:v>
                </c:pt>
                <c:pt idx="542">
                  <c:v>44895</c:v>
                </c:pt>
                <c:pt idx="543">
                  <c:v>44896</c:v>
                </c:pt>
                <c:pt idx="544">
                  <c:v>44897</c:v>
                </c:pt>
                <c:pt idx="545">
                  <c:v>44898</c:v>
                </c:pt>
                <c:pt idx="546">
                  <c:v>44899</c:v>
                </c:pt>
                <c:pt idx="547">
                  <c:v>44900</c:v>
                </c:pt>
                <c:pt idx="548">
                  <c:v>44901</c:v>
                </c:pt>
                <c:pt idx="549">
                  <c:v>44902</c:v>
                </c:pt>
                <c:pt idx="550">
                  <c:v>44903</c:v>
                </c:pt>
                <c:pt idx="551">
                  <c:v>44904</c:v>
                </c:pt>
                <c:pt idx="552">
                  <c:v>44905</c:v>
                </c:pt>
                <c:pt idx="553">
                  <c:v>44906</c:v>
                </c:pt>
                <c:pt idx="554">
                  <c:v>44907</c:v>
                </c:pt>
                <c:pt idx="555">
                  <c:v>44908</c:v>
                </c:pt>
                <c:pt idx="556">
                  <c:v>44909</c:v>
                </c:pt>
                <c:pt idx="557">
                  <c:v>44910</c:v>
                </c:pt>
                <c:pt idx="558">
                  <c:v>44911</c:v>
                </c:pt>
                <c:pt idx="559">
                  <c:v>44912</c:v>
                </c:pt>
                <c:pt idx="560">
                  <c:v>44913</c:v>
                </c:pt>
                <c:pt idx="561">
                  <c:v>44914</c:v>
                </c:pt>
                <c:pt idx="562">
                  <c:v>44915</c:v>
                </c:pt>
                <c:pt idx="563">
                  <c:v>44916</c:v>
                </c:pt>
                <c:pt idx="564">
                  <c:v>44917</c:v>
                </c:pt>
                <c:pt idx="565">
                  <c:v>44918</c:v>
                </c:pt>
                <c:pt idx="566">
                  <c:v>44919</c:v>
                </c:pt>
                <c:pt idx="567">
                  <c:v>44920</c:v>
                </c:pt>
                <c:pt idx="568">
                  <c:v>44921</c:v>
                </c:pt>
                <c:pt idx="569">
                  <c:v>44922</c:v>
                </c:pt>
                <c:pt idx="570">
                  <c:v>44923</c:v>
                </c:pt>
                <c:pt idx="571">
                  <c:v>44924</c:v>
                </c:pt>
                <c:pt idx="572">
                  <c:v>44925</c:v>
                </c:pt>
                <c:pt idx="573">
                  <c:v>44926</c:v>
                </c:pt>
                <c:pt idx="574">
                  <c:v>44927</c:v>
                </c:pt>
                <c:pt idx="575">
                  <c:v>44928</c:v>
                </c:pt>
                <c:pt idx="576">
                  <c:v>44929</c:v>
                </c:pt>
                <c:pt idx="577">
                  <c:v>44930</c:v>
                </c:pt>
                <c:pt idx="578">
                  <c:v>44931</c:v>
                </c:pt>
                <c:pt idx="579">
                  <c:v>44932</c:v>
                </c:pt>
                <c:pt idx="580">
                  <c:v>44933</c:v>
                </c:pt>
                <c:pt idx="581">
                  <c:v>44934</c:v>
                </c:pt>
                <c:pt idx="582">
                  <c:v>44935</c:v>
                </c:pt>
                <c:pt idx="583">
                  <c:v>44936</c:v>
                </c:pt>
                <c:pt idx="584">
                  <c:v>44937</c:v>
                </c:pt>
                <c:pt idx="585">
                  <c:v>44938</c:v>
                </c:pt>
                <c:pt idx="586">
                  <c:v>44939</c:v>
                </c:pt>
                <c:pt idx="587">
                  <c:v>44940</c:v>
                </c:pt>
                <c:pt idx="588">
                  <c:v>44941</c:v>
                </c:pt>
                <c:pt idx="589">
                  <c:v>44942</c:v>
                </c:pt>
                <c:pt idx="590">
                  <c:v>44943</c:v>
                </c:pt>
                <c:pt idx="591">
                  <c:v>44944</c:v>
                </c:pt>
                <c:pt idx="592">
                  <c:v>44945</c:v>
                </c:pt>
                <c:pt idx="593">
                  <c:v>44946</c:v>
                </c:pt>
                <c:pt idx="594">
                  <c:v>44947</c:v>
                </c:pt>
                <c:pt idx="595">
                  <c:v>44948</c:v>
                </c:pt>
                <c:pt idx="596">
                  <c:v>44949</c:v>
                </c:pt>
                <c:pt idx="597">
                  <c:v>44950</c:v>
                </c:pt>
                <c:pt idx="598">
                  <c:v>44951</c:v>
                </c:pt>
                <c:pt idx="599">
                  <c:v>44952</c:v>
                </c:pt>
                <c:pt idx="600">
                  <c:v>44953</c:v>
                </c:pt>
                <c:pt idx="601">
                  <c:v>44954</c:v>
                </c:pt>
                <c:pt idx="602">
                  <c:v>44955</c:v>
                </c:pt>
                <c:pt idx="603">
                  <c:v>44956</c:v>
                </c:pt>
                <c:pt idx="604">
                  <c:v>44957</c:v>
                </c:pt>
                <c:pt idx="605">
                  <c:v>44958</c:v>
                </c:pt>
                <c:pt idx="606">
                  <c:v>44959</c:v>
                </c:pt>
                <c:pt idx="607">
                  <c:v>44960</c:v>
                </c:pt>
                <c:pt idx="608">
                  <c:v>44961</c:v>
                </c:pt>
                <c:pt idx="609">
                  <c:v>44962</c:v>
                </c:pt>
                <c:pt idx="610">
                  <c:v>44963</c:v>
                </c:pt>
                <c:pt idx="611">
                  <c:v>44964</c:v>
                </c:pt>
                <c:pt idx="612">
                  <c:v>44965</c:v>
                </c:pt>
                <c:pt idx="613">
                  <c:v>44966</c:v>
                </c:pt>
                <c:pt idx="614">
                  <c:v>44967</c:v>
                </c:pt>
                <c:pt idx="615">
                  <c:v>44968</c:v>
                </c:pt>
                <c:pt idx="616">
                  <c:v>44969</c:v>
                </c:pt>
                <c:pt idx="617">
                  <c:v>44970</c:v>
                </c:pt>
                <c:pt idx="618">
                  <c:v>44971</c:v>
                </c:pt>
                <c:pt idx="619">
                  <c:v>44972</c:v>
                </c:pt>
                <c:pt idx="620">
                  <c:v>44973</c:v>
                </c:pt>
                <c:pt idx="621">
                  <c:v>44974</c:v>
                </c:pt>
                <c:pt idx="622">
                  <c:v>44975</c:v>
                </c:pt>
                <c:pt idx="623">
                  <c:v>44976</c:v>
                </c:pt>
                <c:pt idx="624">
                  <c:v>44977</c:v>
                </c:pt>
                <c:pt idx="625">
                  <c:v>44978</c:v>
                </c:pt>
                <c:pt idx="626">
                  <c:v>44979</c:v>
                </c:pt>
                <c:pt idx="627">
                  <c:v>44980</c:v>
                </c:pt>
                <c:pt idx="628">
                  <c:v>44981</c:v>
                </c:pt>
                <c:pt idx="629">
                  <c:v>44982</c:v>
                </c:pt>
                <c:pt idx="630">
                  <c:v>44983</c:v>
                </c:pt>
                <c:pt idx="631">
                  <c:v>44984</c:v>
                </c:pt>
                <c:pt idx="632">
                  <c:v>44985</c:v>
                </c:pt>
                <c:pt idx="633">
                  <c:v>44986</c:v>
                </c:pt>
                <c:pt idx="634">
                  <c:v>44987</c:v>
                </c:pt>
                <c:pt idx="635">
                  <c:v>44988</c:v>
                </c:pt>
                <c:pt idx="636">
                  <c:v>44989</c:v>
                </c:pt>
                <c:pt idx="637">
                  <c:v>44990</c:v>
                </c:pt>
                <c:pt idx="638">
                  <c:v>44991</c:v>
                </c:pt>
                <c:pt idx="639">
                  <c:v>44992</c:v>
                </c:pt>
                <c:pt idx="640">
                  <c:v>44993</c:v>
                </c:pt>
                <c:pt idx="641">
                  <c:v>44994</c:v>
                </c:pt>
                <c:pt idx="642">
                  <c:v>44995</c:v>
                </c:pt>
                <c:pt idx="643">
                  <c:v>44996</c:v>
                </c:pt>
                <c:pt idx="644">
                  <c:v>44997</c:v>
                </c:pt>
                <c:pt idx="645">
                  <c:v>44998</c:v>
                </c:pt>
                <c:pt idx="646">
                  <c:v>44999</c:v>
                </c:pt>
                <c:pt idx="647">
                  <c:v>45000</c:v>
                </c:pt>
                <c:pt idx="648">
                  <c:v>45001</c:v>
                </c:pt>
                <c:pt idx="649">
                  <c:v>45002</c:v>
                </c:pt>
                <c:pt idx="650">
                  <c:v>45003</c:v>
                </c:pt>
                <c:pt idx="651">
                  <c:v>45004</c:v>
                </c:pt>
                <c:pt idx="652">
                  <c:v>45005</c:v>
                </c:pt>
                <c:pt idx="653">
                  <c:v>45006</c:v>
                </c:pt>
                <c:pt idx="654">
                  <c:v>45007</c:v>
                </c:pt>
                <c:pt idx="655">
                  <c:v>45008</c:v>
                </c:pt>
                <c:pt idx="656">
                  <c:v>45009</c:v>
                </c:pt>
                <c:pt idx="657">
                  <c:v>45010</c:v>
                </c:pt>
                <c:pt idx="658">
                  <c:v>45011</c:v>
                </c:pt>
                <c:pt idx="659">
                  <c:v>45012</c:v>
                </c:pt>
                <c:pt idx="660">
                  <c:v>45013</c:v>
                </c:pt>
                <c:pt idx="661">
                  <c:v>45014</c:v>
                </c:pt>
                <c:pt idx="662">
                  <c:v>45015</c:v>
                </c:pt>
                <c:pt idx="663">
                  <c:v>45016</c:v>
                </c:pt>
                <c:pt idx="664">
                  <c:v>45017</c:v>
                </c:pt>
                <c:pt idx="665">
                  <c:v>45018</c:v>
                </c:pt>
                <c:pt idx="666">
                  <c:v>45019</c:v>
                </c:pt>
                <c:pt idx="667">
                  <c:v>45020</c:v>
                </c:pt>
                <c:pt idx="668">
                  <c:v>45021</c:v>
                </c:pt>
                <c:pt idx="669">
                  <c:v>45022</c:v>
                </c:pt>
                <c:pt idx="670">
                  <c:v>45023</c:v>
                </c:pt>
                <c:pt idx="671">
                  <c:v>45024</c:v>
                </c:pt>
                <c:pt idx="672">
                  <c:v>45025</c:v>
                </c:pt>
                <c:pt idx="673">
                  <c:v>45026</c:v>
                </c:pt>
                <c:pt idx="674">
                  <c:v>45027</c:v>
                </c:pt>
                <c:pt idx="675">
                  <c:v>45028</c:v>
                </c:pt>
                <c:pt idx="676">
                  <c:v>45029</c:v>
                </c:pt>
                <c:pt idx="677">
                  <c:v>45030</c:v>
                </c:pt>
                <c:pt idx="678">
                  <c:v>45031</c:v>
                </c:pt>
                <c:pt idx="679">
                  <c:v>45032</c:v>
                </c:pt>
                <c:pt idx="680">
                  <c:v>45033</c:v>
                </c:pt>
                <c:pt idx="681">
                  <c:v>45034</c:v>
                </c:pt>
                <c:pt idx="682">
                  <c:v>45035</c:v>
                </c:pt>
                <c:pt idx="683">
                  <c:v>45036</c:v>
                </c:pt>
                <c:pt idx="684">
                  <c:v>45037</c:v>
                </c:pt>
                <c:pt idx="685">
                  <c:v>45038</c:v>
                </c:pt>
                <c:pt idx="686">
                  <c:v>45039</c:v>
                </c:pt>
                <c:pt idx="687">
                  <c:v>45040</c:v>
                </c:pt>
                <c:pt idx="688">
                  <c:v>45041</c:v>
                </c:pt>
                <c:pt idx="689">
                  <c:v>45042</c:v>
                </c:pt>
                <c:pt idx="690">
                  <c:v>45043</c:v>
                </c:pt>
                <c:pt idx="691">
                  <c:v>45044</c:v>
                </c:pt>
                <c:pt idx="692">
                  <c:v>45045</c:v>
                </c:pt>
                <c:pt idx="693">
                  <c:v>45046</c:v>
                </c:pt>
                <c:pt idx="694">
                  <c:v>45047</c:v>
                </c:pt>
                <c:pt idx="695">
                  <c:v>45048</c:v>
                </c:pt>
                <c:pt idx="696">
                  <c:v>45049</c:v>
                </c:pt>
                <c:pt idx="697">
                  <c:v>45050</c:v>
                </c:pt>
                <c:pt idx="698">
                  <c:v>45051</c:v>
                </c:pt>
                <c:pt idx="699">
                  <c:v>45052</c:v>
                </c:pt>
                <c:pt idx="700">
                  <c:v>45053</c:v>
                </c:pt>
                <c:pt idx="701">
                  <c:v>45054</c:v>
                </c:pt>
                <c:pt idx="702">
                  <c:v>45055</c:v>
                </c:pt>
                <c:pt idx="703">
                  <c:v>45056</c:v>
                </c:pt>
                <c:pt idx="704">
                  <c:v>45057</c:v>
                </c:pt>
                <c:pt idx="705">
                  <c:v>45058</c:v>
                </c:pt>
                <c:pt idx="706">
                  <c:v>45059</c:v>
                </c:pt>
                <c:pt idx="707">
                  <c:v>45060</c:v>
                </c:pt>
                <c:pt idx="708">
                  <c:v>45061</c:v>
                </c:pt>
                <c:pt idx="709">
                  <c:v>45062</c:v>
                </c:pt>
                <c:pt idx="710">
                  <c:v>45063</c:v>
                </c:pt>
                <c:pt idx="711">
                  <c:v>45064</c:v>
                </c:pt>
                <c:pt idx="712">
                  <c:v>45065</c:v>
                </c:pt>
                <c:pt idx="713">
                  <c:v>45066</c:v>
                </c:pt>
                <c:pt idx="714">
                  <c:v>45067</c:v>
                </c:pt>
                <c:pt idx="715">
                  <c:v>45068</c:v>
                </c:pt>
                <c:pt idx="716">
                  <c:v>45069</c:v>
                </c:pt>
                <c:pt idx="717">
                  <c:v>45070</c:v>
                </c:pt>
                <c:pt idx="718">
                  <c:v>45071</c:v>
                </c:pt>
                <c:pt idx="719">
                  <c:v>45072</c:v>
                </c:pt>
                <c:pt idx="720">
                  <c:v>45073</c:v>
                </c:pt>
                <c:pt idx="721">
                  <c:v>45074</c:v>
                </c:pt>
                <c:pt idx="722">
                  <c:v>45075</c:v>
                </c:pt>
                <c:pt idx="723">
                  <c:v>45076</c:v>
                </c:pt>
                <c:pt idx="724">
                  <c:v>45077</c:v>
                </c:pt>
                <c:pt idx="725">
                  <c:v>45078</c:v>
                </c:pt>
                <c:pt idx="726">
                  <c:v>45079</c:v>
                </c:pt>
                <c:pt idx="727">
                  <c:v>45080</c:v>
                </c:pt>
                <c:pt idx="728">
                  <c:v>45081</c:v>
                </c:pt>
                <c:pt idx="729">
                  <c:v>45082</c:v>
                </c:pt>
                <c:pt idx="730">
                  <c:v>45083</c:v>
                </c:pt>
                <c:pt idx="731">
                  <c:v>45084</c:v>
                </c:pt>
                <c:pt idx="732">
                  <c:v>45085</c:v>
                </c:pt>
                <c:pt idx="733">
                  <c:v>45086</c:v>
                </c:pt>
                <c:pt idx="734">
                  <c:v>45087</c:v>
                </c:pt>
                <c:pt idx="735">
                  <c:v>45088</c:v>
                </c:pt>
                <c:pt idx="736">
                  <c:v>45089</c:v>
                </c:pt>
                <c:pt idx="737">
                  <c:v>45090</c:v>
                </c:pt>
                <c:pt idx="738">
                  <c:v>45091</c:v>
                </c:pt>
                <c:pt idx="739">
                  <c:v>45092</c:v>
                </c:pt>
                <c:pt idx="740">
                  <c:v>45093</c:v>
                </c:pt>
                <c:pt idx="741">
                  <c:v>45094</c:v>
                </c:pt>
                <c:pt idx="742">
                  <c:v>45095</c:v>
                </c:pt>
                <c:pt idx="743">
                  <c:v>45096</c:v>
                </c:pt>
                <c:pt idx="744">
                  <c:v>45097</c:v>
                </c:pt>
                <c:pt idx="745">
                  <c:v>45098</c:v>
                </c:pt>
                <c:pt idx="746">
                  <c:v>45099</c:v>
                </c:pt>
                <c:pt idx="747">
                  <c:v>45100</c:v>
                </c:pt>
                <c:pt idx="748">
                  <c:v>45101</c:v>
                </c:pt>
                <c:pt idx="749">
                  <c:v>45102</c:v>
                </c:pt>
                <c:pt idx="750">
                  <c:v>45103</c:v>
                </c:pt>
                <c:pt idx="751">
                  <c:v>45104</c:v>
                </c:pt>
                <c:pt idx="752">
                  <c:v>45105</c:v>
                </c:pt>
                <c:pt idx="753">
                  <c:v>45106</c:v>
                </c:pt>
                <c:pt idx="754">
                  <c:v>45107</c:v>
                </c:pt>
                <c:pt idx="755">
                  <c:v>45108</c:v>
                </c:pt>
                <c:pt idx="756">
                  <c:v>45109</c:v>
                </c:pt>
                <c:pt idx="757">
                  <c:v>45110</c:v>
                </c:pt>
                <c:pt idx="758">
                  <c:v>45111</c:v>
                </c:pt>
                <c:pt idx="759">
                  <c:v>45112</c:v>
                </c:pt>
                <c:pt idx="760">
                  <c:v>45113</c:v>
                </c:pt>
                <c:pt idx="761">
                  <c:v>45114</c:v>
                </c:pt>
                <c:pt idx="762">
                  <c:v>45115</c:v>
                </c:pt>
                <c:pt idx="763">
                  <c:v>45116</c:v>
                </c:pt>
                <c:pt idx="764">
                  <c:v>45117</c:v>
                </c:pt>
                <c:pt idx="765">
                  <c:v>45118</c:v>
                </c:pt>
                <c:pt idx="766">
                  <c:v>45119</c:v>
                </c:pt>
                <c:pt idx="767">
                  <c:v>45120</c:v>
                </c:pt>
                <c:pt idx="768">
                  <c:v>45121</c:v>
                </c:pt>
                <c:pt idx="769">
                  <c:v>45122</c:v>
                </c:pt>
                <c:pt idx="770">
                  <c:v>45123</c:v>
                </c:pt>
                <c:pt idx="771">
                  <c:v>45124</c:v>
                </c:pt>
                <c:pt idx="772">
                  <c:v>45125</c:v>
                </c:pt>
                <c:pt idx="773">
                  <c:v>45126</c:v>
                </c:pt>
                <c:pt idx="774">
                  <c:v>45127</c:v>
                </c:pt>
                <c:pt idx="775">
                  <c:v>45128</c:v>
                </c:pt>
                <c:pt idx="776">
                  <c:v>45129</c:v>
                </c:pt>
                <c:pt idx="777">
                  <c:v>45130</c:v>
                </c:pt>
                <c:pt idx="778">
                  <c:v>45131</c:v>
                </c:pt>
                <c:pt idx="779">
                  <c:v>45132</c:v>
                </c:pt>
                <c:pt idx="780">
                  <c:v>45133</c:v>
                </c:pt>
                <c:pt idx="781">
                  <c:v>45134</c:v>
                </c:pt>
                <c:pt idx="782">
                  <c:v>45135</c:v>
                </c:pt>
                <c:pt idx="783">
                  <c:v>45136</c:v>
                </c:pt>
                <c:pt idx="784">
                  <c:v>45137</c:v>
                </c:pt>
                <c:pt idx="785">
                  <c:v>45138</c:v>
                </c:pt>
                <c:pt idx="786">
                  <c:v>45139</c:v>
                </c:pt>
                <c:pt idx="787">
                  <c:v>45140</c:v>
                </c:pt>
                <c:pt idx="788">
                  <c:v>45141</c:v>
                </c:pt>
                <c:pt idx="789">
                  <c:v>45142</c:v>
                </c:pt>
                <c:pt idx="790">
                  <c:v>45143</c:v>
                </c:pt>
                <c:pt idx="791">
                  <c:v>45144</c:v>
                </c:pt>
                <c:pt idx="792">
                  <c:v>45145</c:v>
                </c:pt>
                <c:pt idx="793">
                  <c:v>45146</c:v>
                </c:pt>
                <c:pt idx="794">
                  <c:v>45147</c:v>
                </c:pt>
                <c:pt idx="795">
                  <c:v>45148</c:v>
                </c:pt>
                <c:pt idx="796">
                  <c:v>45149</c:v>
                </c:pt>
                <c:pt idx="797">
                  <c:v>45150</c:v>
                </c:pt>
                <c:pt idx="798">
                  <c:v>45151</c:v>
                </c:pt>
                <c:pt idx="799">
                  <c:v>45152</c:v>
                </c:pt>
                <c:pt idx="800">
                  <c:v>45153</c:v>
                </c:pt>
                <c:pt idx="801">
                  <c:v>45154</c:v>
                </c:pt>
                <c:pt idx="802">
                  <c:v>45155</c:v>
                </c:pt>
                <c:pt idx="803">
                  <c:v>45156</c:v>
                </c:pt>
                <c:pt idx="804">
                  <c:v>45157</c:v>
                </c:pt>
                <c:pt idx="805">
                  <c:v>45158</c:v>
                </c:pt>
                <c:pt idx="806">
                  <c:v>45159</c:v>
                </c:pt>
                <c:pt idx="807">
                  <c:v>45160</c:v>
                </c:pt>
                <c:pt idx="808">
                  <c:v>45161</c:v>
                </c:pt>
                <c:pt idx="809">
                  <c:v>45162</c:v>
                </c:pt>
                <c:pt idx="810">
                  <c:v>45163</c:v>
                </c:pt>
                <c:pt idx="811">
                  <c:v>45164</c:v>
                </c:pt>
                <c:pt idx="812">
                  <c:v>45165</c:v>
                </c:pt>
                <c:pt idx="813">
                  <c:v>45166</c:v>
                </c:pt>
                <c:pt idx="814">
                  <c:v>45167</c:v>
                </c:pt>
                <c:pt idx="815">
                  <c:v>45168</c:v>
                </c:pt>
                <c:pt idx="816">
                  <c:v>45169</c:v>
                </c:pt>
                <c:pt idx="817">
                  <c:v>45170</c:v>
                </c:pt>
                <c:pt idx="818">
                  <c:v>45171</c:v>
                </c:pt>
                <c:pt idx="819">
                  <c:v>45172</c:v>
                </c:pt>
                <c:pt idx="820">
                  <c:v>45173</c:v>
                </c:pt>
                <c:pt idx="821">
                  <c:v>45174</c:v>
                </c:pt>
                <c:pt idx="822">
                  <c:v>45175</c:v>
                </c:pt>
                <c:pt idx="823">
                  <c:v>45176</c:v>
                </c:pt>
                <c:pt idx="824">
                  <c:v>45177</c:v>
                </c:pt>
                <c:pt idx="825">
                  <c:v>45178</c:v>
                </c:pt>
                <c:pt idx="826">
                  <c:v>45179</c:v>
                </c:pt>
                <c:pt idx="827">
                  <c:v>45180</c:v>
                </c:pt>
                <c:pt idx="828">
                  <c:v>45181</c:v>
                </c:pt>
                <c:pt idx="829">
                  <c:v>45182</c:v>
                </c:pt>
                <c:pt idx="830">
                  <c:v>45183</c:v>
                </c:pt>
                <c:pt idx="831">
                  <c:v>45184</c:v>
                </c:pt>
                <c:pt idx="832">
                  <c:v>45185</c:v>
                </c:pt>
                <c:pt idx="833">
                  <c:v>45186</c:v>
                </c:pt>
                <c:pt idx="834">
                  <c:v>45187</c:v>
                </c:pt>
                <c:pt idx="835">
                  <c:v>45188</c:v>
                </c:pt>
                <c:pt idx="836">
                  <c:v>45189</c:v>
                </c:pt>
                <c:pt idx="837">
                  <c:v>45190</c:v>
                </c:pt>
                <c:pt idx="838">
                  <c:v>45191</c:v>
                </c:pt>
                <c:pt idx="839">
                  <c:v>45192</c:v>
                </c:pt>
                <c:pt idx="840">
                  <c:v>45193</c:v>
                </c:pt>
                <c:pt idx="841">
                  <c:v>45194</c:v>
                </c:pt>
                <c:pt idx="842">
                  <c:v>45195</c:v>
                </c:pt>
                <c:pt idx="843">
                  <c:v>45196</c:v>
                </c:pt>
                <c:pt idx="844">
                  <c:v>45197</c:v>
                </c:pt>
                <c:pt idx="845">
                  <c:v>45198</c:v>
                </c:pt>
                <c:pt idx="846">
                  <c:v>45199</c:v>
                </c:pt>
                <c:pt idx="847">
                  <c:v>45200</c:v>
                </c:pt>
                <c:pt idx="848">
                  <c:v>45201</c:v>
                </c:pt>
                <c:pt idx="849">
                  <c:v>45202</c:v>
                </c:pt>
                <c:pt idx="850">
                  <c:v>45203</c:v>
                </c:pt>
                <c:pt idx="851">
                  <c:v>45204</c:v>
                </c:pt>
                <c:pt idx="852">
                  <c:v>45205</c:v>
                </c:pt>
                <c:pt idx="853">
                  <c:v>45206</c:v>
                </c:pt>
                <c:pt idx="854">
                  <c:v>45207</c:v>
                </c:pt>
                <c:pt idx="855">
                  <c:v>45208</c:v>
                </c:pt>
                <c:pt idx="856">
                  <c:v>45209</c:v>
                </c:pt>
                <c:pt idx="857">
                  <c:v>45210</c:v>
                </c:pt>
                <c:pt idx="858">
                  <c:v>45211</c:v>
                </c:pt>
                <c:pt idx="859">
                  <c:v>45212</c:v>
                </c:pt>
                <c:pt idx="860">
                  <c:v>45213</c:v>
                </c:pt>
                <c:pt idx="861">
                  <c:v>45214</c:v>
                </c:pt>
                <c:pt idx="862">
                  <c:v>45215</c:v>
                </c:pt>
                <c:pt idx="863">
                  <c:v>45216</c:v>
                </c:pt>
                <c:pt idx="864">
                  <c:v>45217</c:v>
                </c:pt>
                <c:pt idx="865">
                  <c:v>45218</c:v>
                </c:pt>
                <c:pt idx="866">
                  <c:v>45219</c:v>
                </c:pt>
                <c:pt idx="867">
                  <c:v>45220</c:v>
                </c:pt>
                <c:pt idx="868">
                  <c:v>45221</c:v>
                </c:pt>
                <c:pt idx="869">
                  <c:v>45222</c:v>
                </c:pt>
                <c:pt idx="870">
                  <c:v>45223</c:v>
                </c:pt>
                <c:pt idx="871">
                  <c:v>45224</c:v>
                </c:pt>
                <c:pt idx="872">
                  <c:v>45225</c:v>
                </c:pt>
                <c:pt idx="873">
                  <c:v>45226</c:v>
                </c:pt>
                <c:pt idx="874">
                  <c:v>45227</c:v>
                </c:pt>
                <c:pt idx="875">
                  <c:v>45228</c:v>
                </c:pt>
                <c:pt idx="876">
                  <c:v>45229</c:v>
                </c:pt>
                <c:pt idx="877">
                  <c:v>45230</c:v>
                </c:pt>
                <c:pt idx="878">
                  <c:v>45231</c:v>
                </c:pt>
                <c:pt idx="879">
                  <c:v>45232</c:v>
                </c:pt>
                <c:pt idx="880">
                  <c:v>45233</c:v>
                </c:pt>
                <c:pt idx="881">
                  <c:v>45234</c:v>
                </c:pt>
                <c:pt idx="882">
                  <c:v>45235</c:v>
                </c:pt>
                <c:pt idx="883">
                  <c:v>45236</c:v>
                </c:pt>
                <c:pt idx="884">
                  <c:v>45237</c:v>
                </c:pt>
                <c:pt idx="885">
                  <c:v>45238</c:v>
                </c:pt>
                <c:pt idx="886">
                  <c:v>45239</c:v>
                </c:pt>
                <c:pt idx="887">
                  <c:v>45240</c:v>
                </c:pt>
                <c:pt idx="888">
                  <c:v>45241</c:v>
                </c:pt>
                <c:pt idx="889">
                  <c:v>45242</c:v>
                </c:pt>
                <c:pt idx="890">
                  <c:v>45243</c:v>
                </c:pt>
                <c:pt idx="891">
                  <c:v>45244</c:v>
                </c:pt>
                <c:pt idx="892">
                  <c:v>45245</c:v>
                </c:pt>
                <c:pt idx="893">
                  <c:v>45246</c:v>
                </c:pt>
                <c:pt idx="894">
                  <c:v>45247</c:v>
                </c:pt>
                <c:pt idx="895">
                  <c:v>45248</c:v>
                </c:pt>
                <c:pt idx="896">
                  <c:v>45249</c:v>
                </c:pt>
                <c:pt idx="897">
                  <c:v>45250</c:v>
                </c:pt>
                <c:pt idx="898">
                  <c:v>45251</c:v>
                </c:pt>
                <c:pt idx="899">
                  <c:v>45252</c:v>
                </c:pt>
                <c:pt idx="900">
                  <c:v>45253</c:v>
                </c:pt>
                <c:pt idx="901">
                  <c:v>45254</c:v>
                </c:pt>
                <c:pt idx="902">
                  <c:v>45255</c:v>
                </c:pt>
                <c:pt idx="903">
                  <c:v>45256</c:v>
                </c:pt>
                <c:pt idx="904">
                  <c:v>45257</c:v>
                </c:pt>
                <c:pt idx="905">
                  <c:v>45258</c:v>
                </c:pt>
                <c:pt idx="906">
                  <c:v>45259</c:v>
                </c:pt>
                <c:pt idx="907">
                  <c:v>45260</c:v>
                </c:pt>
                <c:pt idx="908">
                  <c:v>45261</c:v>
                </c:pt>
                <c:pt idx="909">
                  <c:v>45262</c:v>
                </c:pt>
                <c:pt idx="910">
                  <c:v>45263</c:v>
                </c:pt>
                <c:pt idx="911">
                  <c:v>45264</c:v>
                </c:pt>
                <c:pt idx="912">
                  <c:v>45265</c:v>
                </c:pt>
                <c:pt idx="913">
                  <c:v>45266</c:v>
                </c:pt>
                <c:pt idx="914">
                  <c:v>45267</c:v>
                </c:pt>
                <c:pt idx="915">
                  <c:v>45268</c:v>
                </c:pt>
                <c:pt idx="916">
                  <c:v>45269</c:v>
                </c:pt>
                <c:pt idx="917">
                  <c:v>45270</c:v>
                </c:pt>
                <c:pt idx="918">
                  <c:v>45271</c:v>
                </c:pt>
                <c:pt idx="919">
                  <c:v>45272</c:v>
                </c:pt>
                <c:pt idx="920">
                  <c:v>45273</c:v>
                </c:pt>
                <c:pt idx="921">
                  <c:v>45274</c:v>
                </c:pt>
                <c:pt idx="922">
                  <c:v>45275</c:v>
                </c:pt>
                <c:pt idx="923">
                  <c:v>45276</c:v>
                </c:pt>
                <c:pt idx="924">
                  <c:v>45277</c:v>
                </c:pt>
                <c:pt idx="925">
                  <c:v>45278</c:v>
                </c:pt>
                <c:pt idx="926">
                  <c:v>45279</c:v>
                </c:pt>
                <c:pt idx="927">
                  <c:v>45280</c:v>
                </c:pt>
                <c:pt idx="928">
                  <c:v>45281</c:v>
                </c:pt>
                <c:pt idx="929">
                  <c:v>45282</c:v>
                </c:pt>
                <c:pt idx="930">
                  <c:v>45283</c:v>
                </c:pt>
                <c:pt idx="931">
                  <c:v>45284</c:v>
                </c:pt>
                <c:pt idx="932">
                  <c:v>45285</c:v>
                </c:pt>
                <c:pt idx="933">
                  <c:v>45286</c:v>
                </c:pt>
                <c:pt idx="934">
                  <c:v>45287</c:v>
                </c:pt>
                <c:pt idx="935">
                  <c:v>45288</c:v>
                </c:pt>
                <c:pt idx="936">
                  <c:v>45289</c:v>
                </c:pt>
                <c:pt idx="937">
                  <c:v>45290</c:v>
                </c:pt>
                <c:pt idx="938">
                  <c:v>45291</c:v>
                </c:pt>
                <c:pt idx="939">
                  <c:v>45292</c:v>
                </c:pt>
                <c:pt idx="940">
                  <c:v>45293</c:v>
                </c:pt>
                <c:pt idx="941">
                  <c:v>45294</c:v>
                </c:pt>
                <c:pt idx="942">
                  <c:v>45295</c:v>
                </c:pt>
                <c:pt idx="943">
                  <c:v>45296</c:v>
                </c:pt>
                <c:pt idx="944">
                  <c:v>45297</c:v>
                </c:pt>
                <c:pt idx="945">
                  <c:v>45298</c:v>
                </c:pt>
                <c:pt idx="946">
                  <c:v>45299</c:v>
                </c:pt>
                <c:pt idx="947">
                  <c:v>45300</c:v>
                </c:pt>
                <c:pt idx="948">
                  <c:v>45301</c:v>
                </c:pt>
                <c:pt idx="949">
                  <c:v>45302</c:v>
                </c:pt>
                <c:pt idx="950">
                  <c:v>45303</c:v>
                </c:pt>
                <c:pt idx="951">
                  <c:v>45304</c:v>
                </c:pt>
                <c:pt idx="952">
                  <c:v>45305</c:v>
                </c:pt>
                <c:pt idx="953">
                  <c:v>45306</c:v>
                </c:pt>
                <c:pt idx="954">
                  <c:v>45307</c:v>
                </c:pt>
                <c:pt idx="955">
                  <c:v>45308</c:v>
                </c:pt>
                <c:pt idx="956">
                  <c:v>45309</c:v>
                </c:pt>
                <c:pt idx="957">
                  <c:v>45310</c:v>
                </c:pt>
                <c:pt idx="958">
                  <c:v>45311</c:v>
                </c:pt>
                <c:pt idx="959">
                  <c:v>45312</c:v>
                </c:pt>
                <c:pt idx="960">
                  <c:v>45313</c:v>
                </c:pt>
                <c:pt idx="961">
                  <c:v>45314</c:v>
                </c:pt>
                <c:pt idx="962">
                  <c:v>45315</c:v>
                </c:pt>
                <c:pt idx="963">
                  <c:v>45316</c:v>
                </c:pt>
                <c:pt idx="964">
                  <c:v>45317</c:v>
                </c:pt>
                <c:pt idx="965">
                  <c:v>45318</c:v>
                </c:pt>
                <c:pt idx="966">
                  <c:v>45319</c:v>
                </c:pt>
                <c:pt idx="967">
                  <c:v>45320</c:v>
                </c:pt>
                <c:pt idx="968">
                  <c:v>45321</c:v>
                </c:pt>
                <c:pt idx="969">
                  <c:v>45322</c:v>
                </c:pt>
                <c:pt idx="970">
                  <c:v>45323</c:v>
                </c:pt>
                <c:pt idx="971">
                  <c:v>45324</c:v>
                </c:pt>
                <c:pt idx="972">
                  <c:v>45325</c:v>
                </c:pt>
                <c:pt idx="973">
                  <c:v>45326</c:v>
                </c:pt>
                <c:pt idx="974">
                  <c:v>45327</c:v>
                </c:pt>
                <c:pt idx="975">
                  <c:v>45328</c:v>
                </c:pt>
                <c:pt idx="976">
                  <c:v>45329</c:v>
                </c:pt>
                <c:pt idx="977">
                  <c:v>45330</c:v>
                </c:pt>
                <c:pt idx="978">
                  <c:v>45331</c:v>
                </c:pt>
                <c:pt idx="979">
                  <c:v>45332</c:v>
                </c:pt>
                <c:pt idx="980">
                  <c:v>45333</c:v>
                </c:pt>
                <c:pt idx="981">
                  <c:v>45334</c:v>
                </c:pt>
                <c:pt idx="982">
                  <c:v>45335</c:v>
                </c:pt>
                <c:pt idx="983">
                  <c:v>45336</c:v>
                </c:pt>
                <c:pt idx="984">
                  <c:v>45337</c:v>
                </c:pt>
                <c:pt idx="985">
                  <c:v>45338</c:v>
                </c:pt>
                <c:pt idx="986">
                  <c:v>45339</c:v>
                </c:pt>
                <c:pt idx="987">
                  <c:v>45340</c:v>
                </c:pt>
                <c:pt idx="988">
                  <c:v>45341</c:v>
                </c:pt>
                <c:pt idx="989">
                  <c:v>45342</c:v>
                </c:pt>
                <c:pt idx="990">
                  <c:v>45343</c:v>
                </c:pt>
                <c:pt idx="991">
                  <c:v>45344</c:v>
                </c:pt>
                <c:pt idx="992">
                  <c:v>45345</c:v>
                </c:pt>
                <c:pt idx="993">
                  <c:v>45346</c:v>
                </c:pt>
                <c:pt idx="994">
                  <c:v>45347</c:v>
                </c:pt>
                <c:pt idx="995">
                  <c:v>45348</c:v>
                </c:pt>
                <c:pt idx="996">
                  <c:v>45349</c:v>
                </c:pt>
                <c:pt idx="997">
                  <c:v>45350</c:v>
                </c:pt>
                <c:pt idx="998">
                  <c:v>45351</c:v>
                </c:pt>
                <c:pt idx="999">
                  <c:v>45352</c:v>
                </c:pt>
                <c:pt idx="1000">
                  <c:v>45353</c:v>
                </c:pt>
                <c:pt idx="1001">
                  <c:v>45354</c:v>
                </c:pt>
                <c:pt idx="1002">
                  <c:v>45355</c:v>
                </c:pt>
                <c:pt idx="1003">
                  <c:v>45356</c:v>
                </c:pt>
                <c:pt idx="1004">
                  <c:v>45357</c:v>
                </c:pt>
                <c:pt idx="1005">
                  <c:v>45358</c:v>
                </c:pt>
                <c:pt idx="1006">
                  <c:v>45359</c:v>
                </c:pt>
                <c:pt idx="1007">
                  <c:v>45360</c:v>
                </c:pt>
                <c:pt idx="1008">
                  <c:v>45361</c:v>
                </c:pt>
                <c:pt idx="1009">
                  <c:v>45362</c:v>
                </c:pt>
                <c:pt idx="1010">
                  <c:v>45363</c:v>
                </c:pt>
                <c:pt idx="1011">
                  <c:v>45364</c:v>
                </c:pt>
                <c:pt idx="1012">
                  <c:v>45365</c:v>
                </c:pt>
                <c:pt idx="1013">
                  <c:v>45366</c:v>
                </c:pt>
                <c:pt idx="1014">
                  <c:v>45367</c:v>
                </c:pt>
                <c:pt idx="1015">
                  <c:v>45368</c:v>
                </c:pt>
                <c:pt idx="1016">
                  <c:v>45369</c:v>
                </c:pt>
                <c:pt idx="1017">
                  <c:v>45370</c:v>
                </c:pt>
                <c:pt idx="1018">
                  <c:v>45371</c:v>
                </c:pt>
                <c:pt idx="1019">
                  <c:v>45372</c:v>
                </c:pt>
                <c:pt idx="1020">
                  <c:v>45373</c:v>
                </c:pt>
                <c:pt idx="1021">
                  <c:v>45374</c:v>
                </c:pt>
                <c:pt idx="1022">
                  <c:v>45375</c:v>
                </c:pt>
                <c:pt idx="1023">
                  <c:v>45376</c:v>
                </c:pt>
                <c:pt idx="1024">
                  <c:v>45377</c:v>
                </c:pt>
                <c:pt idx="1025">
                  <c:v>45378</c:v>
                </c:pt>
                <c:pt idx="1026">
                  <c:v>45379</c:v>
                </c:pt>
                <c:pt idx="1027">
                  <c:v>45380</c:v>
                </c:pt>
                <c:pt idx="1028">
                  <c:v>45381</c:v>
                </c:pt>
                <c:pt idx="1029">
                  <c:v>45382</c:v>
                </c:pt>
                <c:pt idx="1030">
                  <c:v>45383</c:v>
                </c:pt>
                <c:pt idx="1031">
                  <c:v>45384</c:v>
                </c:pt>
                <c:pt idx="1032">
                  <c:v>45385</c:v>
                </c:pt>
                <c:pt idx="1033">
                  <c:v>45386</c:v>
                </c:pt>
                <c:pt idx="1034">
                  <c:v>45387</c:v>
                </c:pt>
                <c:pt idx="1035">
                  <c:v>45388</c:v>
                </c:pt>
                <c:pt idx="1036">
                  <c:v>45389</c:v>
                </c:pt>
                <c:pt idx="1037">
                  <c:v>45390</c:v>
                </c:pt>
                <c:pt idx="1038">
                  <c:v>45391</c:v>
                </c:pt>
                <c:pt idx="1039">
                  <c:v>45392</c:v>
                </c:pt>
                <c:pt idx="1040">
                  <c:v>45393</c:v>
                </c:pt>
                <c:pt idx="1041">
                  <c:v>45394</c:v>
                </c:pt>
                <c:pt idx="1042">
                  <c:v>45395</c:v>
                </c:pt>
                <c:pt idx="1043">
                  <c:v>45396</c:v>
                </c:pt>
                <c:pt idx="1044">
                  <c:v>45397</c:v>
                </c:pt>
                <c:pt idx="1045">
                  <c:v>45398</c:v>
                </c:pt>
                <c:pt idx="1046">
                  <c:v>45399</c:v>
                </c:pt>
                <c:pt idx="1047">
                  <c:v>45400</c:v>
                </c:pt>
                <c:pt idx="1048">
                  <c:v>45401</c:v>
                </c:pt>
                <c:pt idx="1049">
                  <c:v>45402</c:v>
                </c:pt>
                <c:pt idx="1050">
                  <c:v>45403</c:v>
                </c:pt>
                <c:pt idx="1051">
                  <c:v>45404</c:v>
                </c:pt>
                <c:pt idx="1052">
                  <c:v>45405</c:v>
                </c:pt>
                <c:pt idx="1053">
                  <c:v>45406</c:v>
                </c:pt>
                <c:pt idx="1054">
                  <c:v>45407</c:v>
                </c:pt>
                <c:pt idx="1055">
                  <c:v>45408</c:v>
                </c:pt>
                <c:pt idx="1056">
                  <c:v>45409</c:v>
                </c:pt>
                <c:pt idx="1057">
                  <c:v>45410</c:v>
                </c:pt>
                <c:pt idx="1058">
                  <c:v>45411</c:v>
                </c:pt>
                <c:pt idx="1059">
                  <c:v>45412</c:v>
                </c:pt>
                <c:pt idx="1060">
                  <c:v>45413</c:v>
                </c:pt>
                <c:pt idx="1061">
                  <c:v>45414</c:v>
                </c:pt>
                <c:pt idx="1062">
                  <c:v>45415</c:v>
                </c:pt>
                <c:pt idx="1063">
                  <c:v>45416</c:v>
                </c:pt>
                <c:pt idx="1064">
                  <c:v>45417</c:v>
                </c:pt>
                <c:pt idx="1065">
                  <c:v>45418</c:v>
                </c:pt>
                <c:pt idx="1066">
                  <c:v>45419</c:v>
                </c:pt>
                <c:pt idx="1067">
                  <c:v>45420</c:v>
                </c:pt>
                <c:pt idx="1068">
                  <c:v>45421</c:v>
                </c:pt>
                <c:pt idx="1069">
                  <c:v>45422</c:v>
                </c:pt>
                <c:pt idx="1070">
                  <c:v>45423</c:v>
                </c:pt>
                <c:pt idx="1071">
                  <c:v>45424</c:v>
                </c:pt>
                <c:pt idx="1072">
                  <c:v>45425</c:v>
                </c:pt>
                <c:pt idx="1073">
                  <c:v>45426</c:v>
                </c:pt>
                <c:pt idx="1074">
                  <c:v>45427</c:v>
                </c:pt>
                <c:pt idx="1075">
                  <c:v>45428</c:v>
                </c:pt>
                <c:pt idx="1076">
                  <c:v>45429</c:v>
                </c:pt>
                <c:pt idx="1077">
                  <c:v>45430</c:v>
                </c:pt>
                <c:pt idx="1078">
                  <c:v>45431</c:v>
                </c:pt>
                <c:pt idx="1079">
                  <c:v>45432</c:v>
                </c:pt>
                <c:pt idx="1080">
                  <c:v>45433</c:v>
                </c:pt>
                <c:pt idx="1081">
                  <c:v>45434</c:v>
                </c:pt>
                <c:pt idx="1082">
                  <c:v>45435</c:v>
                </c:pt>
                <c:pt idx="1083">
                  <c:v>45436</c:v>
                </c:pt>
                <c:pt idx="1084">
                  <c:v>45437</c:v>
                </c:pt>
                <c:pt idx="1085">
                  <c:v>45438</c:v>
                </c:pt>
                <c:pt idx="1086">
                  <c:v>45439</c:v>
                </c:pt>
                <c:pt idx="1087">
                  <c:v>45440</c:v>
                </c:pt>
                <c:pt idx="1088">
                  <c:v>45441</c:v>
                </c:pt>
                <c:pt idx="1089">
                  <c:v>45442</c:v>
                </c:pt>
                <c:pt idx="1090">
                  <c:v>45443</c:v>
                </c:pt>
                <c:pt idx="1091">
                  <c:v>45444</c:v>
                </c:pt>
                <c:pt idx="1092">
                  <c:v>45445</c:v>
                </c:pt>
                <c:pt idx="1093">
                  <c:v>45446</c:v>
                </c:pt>
                <c:pt idx="1094">
                  <c:v>45447</c:v>
                </c:pt>
                <c:pt idx="1095">
                  <c:v>45448</c:v>
                </c:pt>
                <c:pt idx="1096">
                  <c:v>45449</c:v>
                </c:pt>
                <c:pt idx="1097">
                  <c:v>45450</c:v>
                </c:pt>
                <c:pt idx="1098">
                  <c:v>45451</c:v>
                </c:pt>
                <c:pt idx="1099">
                  <c:v>45452</c:v>
                </c:pt>
                <c:pt idx="1100">
                  <c:v>45453</c:v>
                </c:pt>
                <c:pt idx="1101">
                  <c:v>45454</c:v>
                </c:pt>
                <c:pt idx="1102">
                  <c:v>45455</c:v>
                </c:pt>
                <c:pt idx="1103">
                  <c:v>45456</c:v>
                </c:pt>
                <c:pt idx="1104">
                  <c:v>45457</c:v>
                </c:pt>
                <c:pt idx="1105">
                  <c:v>45458</c:v>
                </c:pt>
                <c:pt idx="1106">
                  <c:v>45459</c:v>
                </c:pt>
                <c:pt idx="1107">
                  <c:v>45460</c:v>
                </c:pt>
                <c:pt idx="1108">
                  <c:v>45461</c:v>
                </c:pt>
                <c:pt idx="1109">
                  <c:v>45462</c:v>
                </c:pt>
                <c:pt idx="1110">
                  <c:v>45463</c:v>
                </c:pt>
                <c:pt idx="1111">
                  <c:v>45464</c:v>
                </c:pt>
                <c:pt idx="1112">
                  <c:v>45465</c:v>
                </c:pt>
                <c:pt idx="1113">
                  <c:v>45466</c:v>
                </c:pt>
                <c:pt idx="1114">
                  <c:v>45467</c:v>
                </c:pt>
                <c:pt idx="1115">
                  <c:v>45468</c:v>
                </c:pt>
                <c:pt idx="1116">
                  <c:v>45469</c:v>
                </c:pt>
                <c:pt idx="1117">
                  <c:v>45470</c:v>
                </c:pt>
                <c:pt idx="1118">
                  <c:v>45471</c:v>
                </c:pt>
                <c:pt idx="1119">
                  <c:v>45472</c:v>
                </c:pt>
                <c:pt idx="1120">
                  <c:v>45473</c:v>
                </c:pt>
                <c:pt idx="1121">
                  <c:v>45474</c:v>
                </c:pt>
                <c:pt idx="1122">
                  <c:v>45475</c:v>
                </c:pt>
                <c:pt idx="1123">
                  <c:v>45476</c:v>
                </c:pt>
                <c:pt idx="1124">
                  <c:v>45477</c:v>
                </c:pt>
                <c:pt idx="1125">
                  <c:v>45478</c:v>
                </c:pt>
                <c:pt idx="1126">
                  <c:v>45479</c:v>
                </c:pt>
                <c:pt idx="1127">
                  <c:v>45480</c:v>
                </c:pt>
                <c:pt idx="1128">
                  <c:v>45481</c:v>
                </c:pt>
                <c:pt idx="1129">
                  <c:v>45482</c:v>
                </c:pt>
                <c:pt idx="1130">
                  <c:v>45483</c:v>
                </c:pt>
                <c:pt idx="1131">
                  <c:v>45484</c:v>
                </c:pt>
                <c:pt idx="1132">
                  <c:v>45485</c:v>
                </c:pt>
                <c:pt idx="1133">
                  <c:v>45486</c:v>
                </c:pt>
                <c:pt idx="1134">
                  <c:v>45487</c:v>
                </c:pt>
                <c:pt idx="1135">
                  <c:v>45488</c:v>
                </c:pt>
                <c:pt idx="1136">
                  <c:v>45489</c:v>
                </c:pt>
                <c:pt idx="1137">
                  <c:v>45490</c:v>
                </c:pt>
                <c:pt idx="1138">
                  <c:v>45491</c:v>
                </c:pt>
                <c:pt idx="1139">
                  <c:v>45492</c:v>
                </c:pt>
                <c:pt idx="1140">
                  <c:v>45493</c:v>
                </c:pt>
                <c:pt idx="1141">
                  <c:v>45494</c:v>
                </c:pt>
                <c:pt idx="1142">
                  <c:v>45495</c:v>
                </c:pt>
                <c:pt idx="1143">
                  <c:v>45496</c:v>
                </c:pt>
                <c:pt idx="1144">
                  <c:v>45497</c:v>
                </c:pt>
                <c:pt idx="1145">
                  <c:v>45498</c:v>
                </c:pt>
                <c:pt idx="1146">
                  <c:v>45499</c:v>
                </c:pt>
                <c:pt idx="1147">
                  <c:v>45500</c:v>
                </c:pt>
                <c:pt idx="1148">
                  <c:v>45501</c:v>
                </c:pt>
                <c:pt idx="1149">
                  <c:v>45502</c:v>
                </c:pt>
                <c:pt idx="1150">
                  <c:v>45503</c:v>
                </c:pt>
                <c:pt idx="1151">
                  <c:v>45504</c:v>
                </c:pt>
                <c:pt idx="1152">
                  <c:v>45505</c:v>
                </c:pt>
                <c:pt idx="1153">
                  <c:v>45506</c:v>
                </c:pt>
                <c:pt idx="1154">
                  <c:v>45507</c:v>
                </c:pt>
                <c:pt idx="1155">
                  <c:v>45508</c:v>
                </c:pt>
                <c:pt idx="1156">
                  <c:v>45509</c:v>
                </c:pt>
                <c:pt idx="1157">
                  <c:v>45510</c:v>
                </c:pt>
                <c:pt idx="1158">
                  <c:v>45511</c:v>
                </c:pt>
                <c:pt idx="1159">
                  <c:v>45512</c:v>
                </c:pt>
                <c:pt idx="1160">
                  <c:v>45513</c:v>
                </c:pt>
                <c:pt idx="1161">
                  <c:v>45514</c:v>
                </c:pt>
                <c:pt idx="1162">
                  <c:v>45515</c:v>
                </c:pt>
                <c:pt idx="1163">
                  <c:v>45516</c:v>
                </c:pt>
                <c:pt idx="1164">
                  <c:v>45517</c:v>
                </c:pt>
                <c:pt idx="1165">
                  <c:v>45518</c:v>
                </c:pt>
                <c:pt idx="1166">
                  <c:v>45519</c:v>
                </c:pt>
                <c:pt idx="1167">
                  <c:v>45520</c:v>
                </c:pt>
                <c:pt idx="1168">
                  <c:v>45521</c:v>
                </c:pt>
                <c:pt idx="1169">
                  <c:v>45522</c:v>
                </c:pt>
                <c:pt idx="1170">
                  <c:v>45523</c:v>
                </c:pt>
                <c:pt idx="1171">
                  <c:v>45524</c:v>
                </c:pt>
                <c:pt idx="1172">
                  <c:v>45525</c:v>
                </c:pt>
                <c:pt idx="1173">
                  <c:v>45526</c:v>
                </c:pt>
                <c:pt idx="1174">
                  <c:v>45527</c:v>
                </c:pt>
                <c:pt idx="1175">
                  <c:v>45528</c:v>
                </c:pt>
                <c:pt idx="1176">
                  <c:v>45529</c:v>
                </c:pt>
                <c:pt idx="1177">
                  <c:v>45530</c:v>
                </c:pt>
                <c:pt idx="1178">
                  <c:v>45531</c:v>
                </c:pt>
                <c:pt idx="1179">
                  <c:v>45532</c:v>
                </c:pt>
                <c:pt idx="1180">
                  <c:v>45533</c:v>
                </c:pt>
                <c:pt idx="1181">
                  <c:v>45534</c:v>
                </c:pt>
                <c:pt idx="1182">
                  <c:v>45535</c:v>
                </c:pt>
                <c:pt idx="1183">
                  <c:v>45536</c:v>
                </c:pt>
                <c:pt idx="1184">
                  <c:v>45537</c:v>
                </c:pt>
                <c:pt idx="1185">
                  <c:v>45538</c:v>
                </c:pt>
                <c:pt idx="1186">
                  <c:v>45539</c:v>
                </c:pt>
                <c:pt idx="1187">
                  <c:v>45540</c:v>
                </c:pt>
                <c:pt idx="1188">
                  <c:v>45541</c:v>
                </c:pt>
                <c:pt idx="1189">
                  <c:v>45542</c:v>
                </c:pt>
                <c:pt idx="1190">
                  <c:v>45543</c:v>
                </c:pt>
                <c:pt idx="1191">
                  <c:v>45544</c:v>
                </c:pt>
                <c:pt idx="1192">
                  <c:v>45545</c:v>
                </c:pt>
                <c:pt idx="1193">
                  <c:v>45546</c:v>
                </c:pt>
                <c:pt idx="1194">
                  <c:v>45547</c:v>
                </c:pt>
                <c:pt idx="1195">
                  <c:v>45548</c:v>
                </c:pt>
                <c:pt idx="1196">
                  <c:v>45549</c:v>
                </c:pt>
                <c:pt idx="1197">
                  <c:v>45550</c:v>
                </c:pt>
                <c:pt idx="1198">
                  <c:v>45551</c:v>
                </c:pt>
                <c:pt idx="1199">
                  <c:v>45552</c:v>
                </c:pt>
                <c:pt idx="1200">
                  <c:v>45553</c:v>
                </c:pt>
                <c:pt idx="1201">
                  <c:v>45554</c:v>
                </c:pt>
                <c:pt idx="1202">
                  <c:v>45555</c:v>
                </c:pt>
                <c:pt idx="1203">
                  <c:v>45556</c:v>
                </c:pt>
                <c:pt idx="1204">
                  <c:v>45557</c:v>
                </c:pt>
                <c:pt idx="1205">
                  <c:v>45558</c:v>
                </c:pt>
                <c:pt idx="1206">
                  <c:v>45559</c:v>
                </c:pt>
                <c:pt idx="1207">
                  <c:v>45560</c:v>
                </c:pt>
                <c:pt idx="1208">
                  <c:v>45561</c:v>
                </c:pt>
                <c:pt idx="1209">
                  <c:v>45562</c:v>
                </c:pt>
                <c:pt idx="1210">
                  <c:v>45563</c:v>
                </c:pt>
                <c:pt idx="1211">
                  <c:v>45564</c:v>
                </c:pt>
                <c:pt idx="1212">
                  <c:v>45565</c:v>
                </c:pt>
                <c:pt idx="1213">
                  <c:v>45566</c:v>
                </c:pt>
                <c:pt idx="1214">
                  <c:v>45567</c:v>
                </c:pt>
                <c:pt idx="1215">
                  <c:v>45568</c:v>
                </c:pt>
                <c:pt idx="1216">
                  <c:v>45569</c:v>
                </c:pt>
                <c:pt idx="1217">
                  <c:v>45570</c:v>
                </c:pt>
                <c:pt idx="1218">
                  <c:v>45571</c:v>
                </c:pt>
                <c:pt idx="1219">
                  <c:v>45572</c:v>
                </c:pt>
                <c:pt idx="1220">
                  <c:v>45573</c:v>
                </c:pt>
                <c:pt idx="1221">
                  <c:v>45574</c:v>
                </c:pt>
                <c:pt idx="1222">
                  <c:v>45575</c:v>
                </c:pt>
                <c:pt idx="1223">
                  <c:v>45576</c:v>
                </c:pt>
                <c:pt idx="1224">
                  <c:v>45577</c:v>
                </c:pt>
                <c:pt idx="1225">
                  <c:v>45578</c:v>
                </c:pt>
                <c:pt idx="1226">
                  <c:v>45579</c:v>
                </c:pt>
                <c:pt idx="1227">
                  <c:v>45580</c:v>
                </c:pt>
                <c:pt idx="1228">
                  <c:v>45581</c:v>
                </c:pt>
                <c:pt idx="1229">
                  <c:v>45582</c:v>
                </c:pt>
                <c:pt idx="1230">
                  <c:v>45583</c:v>
                </c:pt>
                <c:pt idx="1231">
                  <c:v>45584</c:v>
                </c:pt>
                <c:pt idx="1232">
                  <c:v>45585</c:v>
                </c:pt>
                <c:pt idx="1233">
                  <c:v>45586</c:v>
                </c:pt>
                <c:pt idx="1234">
                  <c:v>45587</c:v>
                </c:pt>
                <c:pt idx="1235">
                  <c:v>45588</c:v>
                </c:pt>
                <c:pt idx="1236">
                  <c:v>45589</c:v>
                </c:pt>
                <c:pt idx="1237">
                  <c:v>45590</c:v>
                </c:pt>
                <c:pt idx="1238">
                  <c:v>45591</c:v>
                </c:pt>
                <c:pt idx="1239">
                  <c:v>45592</c:v>
                </c:pt>
                <c:pt idx="1240">
                  <c:v>45593</c:v>
                </c:pt>
                <c:pt idx="1241">
                  <c:v>45594</c:v>
                </c:pt>
                <c:pt idx="1242">
                  <c:v>45595</c:v>
                </c:pt>
                <c:pt idx="1243">
                  <c:v>45596</c:v>
                </c:pt>
                <c:pt idx="1244">
                  <c:v>45597</c:v>
                </c:pt>
                <c:pt idx="1245">
                  <c:v>45598</c:v>
                </c:pt>
                <c:pt idx="1246">
                  <c:v>45599</c:v>
                </c:pt>
                <c:pt idx="1247">
                  <c:v>45600</c:v>
                </c:pt>
                <c:pt idx="1248">
                  <c:v>45601</c:v>
                </c:pt>
                <c:pt idx="1249">
                  <c:v>45602</c:v>
                </c:pt>
                <c:pt idx="1250">
                  <c:v>45603</c:v>
                </c:pt>
                <c:pt idx="1251">
                  <c:v>45604</c:v>
                </c:pt>
                <c:pt idx="1252">
                  <c:v>45605</c:v>
                </c:pt>
                <c:pt idx="1253">
                  <c:v>45606</c:v>
                </c:pt>
                <c:pt idx="1254">
                  <c:v>45607</c:v>
                </c:pt>
                <c:pt idx="1255">
                  <c:v>45608</c:v>
                </c:pt>
                <c:pt idx="1256">
                  <c:v>45609</c:v>
                </c:pt>
                <c:pt idx="1257">
                  <c:v>45610</c:v>
                </c:pt>
                <c:pt idx="1258">
                  <c:v>45611</c:v>
                </c:pt>
                <c:pt idx="1259">
                  <c:v>45612</c:v>
                </c:pt>
                <c:pt idx="1260">
                  <c:v>45613</c:v>
                </c:pt>
                <c:pt idx="1261">
                  <c:v>45614</c:v>
                </c:pt>
                <c:pt idx="1262">
                  <c:v>45615</c:v>
                </c:pt>
                <c:pt idx="1263">
                  <c:v>45616</c:v>
                </c:pt>
                <c:pt idx="1264">
                  <c:v>45617</c:v>
                </c:pt>
                <c:pt idx="1265">
                  <c:v>45618</c:v>
                </c:pt>
                <c:pt idx="1266">
                  <c:v>45619</c:v>
                </c:pt>
                <c:pt idx="1267">
                  <c:v>45620</c:v>
                </c:pt>
                <c:pt idx="1268">
                  <c:v>45621</c:v>
                </c:pt>
                <c:pt idx="1269">
                  <c:v>45622</c:v>
                </c:pt>
                <c:pt idx="1270">
                  <c:v>45623</c:v>
                </c:pt>
                <c:pt idx="1271">
                  <c:v>45624</c:v>
                </c:pt>
                <c:pt idx="1272">
                  <c:v>45625</c:v>
                </c:pt>
                <c:pt idx="1273">
                  <c:v>45626</c:v>
                </c:pt>
                <c:pt idx="1274">
                  <c:v>45627</c:v>
                </c:pt>
                <c:pt idx="1275">
                  <c:v>45628</c:v>
                </c:pt>
                <c:pt idx="1276">
                  <c:v>45629</c:v>
                </c:pt>
                <c:pt idx="1277">
                  <c:v>45630</c:v>
                </c:pt>
                <c:pt idx="1278">
                  <c:v>45631</c:v>
                </c:pt>
                <c:pt idx="1279">
                  <c:v>45632</c:v>
                </c:pt>
                <c:pt idx="1280">
                  <c:v>45633</c:v>
                </c:pt>
                <c:pt idx="1281">
                  <c:v>45634</c:v>
                </c:pt>
                <c:pt idx="1282">
                  <c:v>45635</c:v>
                </c:pt>
                <c:pt idx="1283">
                  <c:v>45636</c:v>
                </c:pt>
                <c:pt idx="1284">
                  <c:v>45637</c:v>
                </c:pt>
                <c:pt idx="1285">
                  <c:v>45638</c:v>
                </c:pt>
                <c:pt idx="1286">
                  <c:v>45639</c:v>
                </c:pt>
                <c:pt idx="1287">
                  <c:v>45640</c:v>
                </c:pt>
                <c:pt idx="1288">
                  <c:v>45641</c:v>
                </c:pt>
                <c:pt idx="1289">
                  <c:v>45642</c:v>
                </c:pt>
                <c:pt idx="1290">
                  <c:v>45643</c:v>
                </c:pt>
                <c:pt idx="1291">
                  <c:v>45644</c:v>
                </c:pt>
                <c:pt idx="1292">
                  <c:v>45645</c:v>
                </c:pt>
                <c:pt idx="1293">
                  <c:v>45646</c:v>
                </c:pt>
                <c:pt idx="1294">
                  <c:v>45647</c:v>
                </c:pt>
                <c:pt idx="1295">
                  <c:v>45648</c:v>
                </c:pt>
                <c:pt idx="1296">
                  <c:v>45649</c:v>
                </c:pt>
                <c:pt idx="1297">
                  <c:v>45650</c:v>
                </c:pt>
                <c:pt idx="1298">
                  <c:v>45651</c:v>
                </c:pt>
                <c:pt idx="1299">
                  <c:v>45652</c:v>
                </c:pt>
                <c:pt idx="1300">
                  <c:v>45653</c:v>
                </c:pt>
                <c:pt idx="1301">
                  <c:v>45654</c:v>
                </c:pt>
                <c:pt idx="1302">
                  <c:v>45655</c:v>
                </c:pt>
                <c:pt idx="1303">
                  <c:v>45656</c:v>
                </c:pt>
                <c:pt idx="1304">
                  <c:v>45657</c:v>
                </c:pt>
                <c:pt idx="1305">
                  <c:v>45658</c:v>
                </c:pt>
                <c:pt idx="1306">
                  <c:v>45659</c:v>
                </c:pt>
                <c:pt idx="1307">
                  <c:v>45660</c:v>
                </c:pt>
                <c:pt idx="1308">
                  <c:v>45661</c:v>
                </c:pt>
                <c:pt idx="1309">
                  <c:v>45662</c:v>
                </c:pt>
                <c:pt idx="1310">
                  <c:v>45663</c:v>
                </c:pt>
                <c:pt idx="1311">
                  <c:v>45664</c:v>
                </c:pt>
                <c:pt idx="1312">
                  <c:v>45665</c:v>
                </c:pt>
                <c:pt idx="1313">
                  <c:v>45666</c:v>
                </c:pt>
                <c:pt idx="1314">
                  <c:v>45667</c:v>
                </c:pt>
                <c:pt idx="1315">
                  <c:v>45668</c:v>
                </c:pt>
                <c:pt idx="1316">
                  <c:v>45669</c:v>
                </c:pt>
                <c:pt idx="1317">
                  <c:v>45670</c:v>
                </c:pt>
                <c:pt idx="1318">
                  <c:v>45671</c:v>
                </c:pt>
                <c:pt idx="1319">
                  <c:v>45672</c:v>
                </c:pt>
                <c:pt idx="1320">
                  <c:v>45673</c:v>
                </c:pt>
                <c:pt idx="1321">
                  <c:v>45674</c:v>
                </c:pt>
                <c:pt idx="1322">
                  <c:v>45675</c:v>
                </c:pt>
                <c:pt idx="1323">
                  <c:v>45676</c:v>
                </c:pt>
                <c:pt idx="1324">
                  <c:v>45677</c:v>
                </c:pt>
                <c:pt idx="1325">
                  <c:v>45678</c:v>
                </c:pt>
                <c:pt idx="1326">
                  <c:v>45679</c:v>
                </c:pt>
                <c:pt idx="1327">
                  <c:v>45680</c:v>
                </c:pt>
                <c:pt idx="1328">
                  <c:v>45681</c:v>
                </c:pt>
                <c:pt idx="1329">
                  <c:v>45682</c:v>
                </c:pt>
                <c:pt idx="1330">
                  <c:v>45683</c:v>
                </c:pt>
                <c:pt idx="1331">
                  <c:v>45684</c:v>
                </c:pt>
                <c:pt idx="1332">
                  <c:v>45685</c:v>
                </c:pt>
                <c:pt idx="1333">
                  <c:v>45686</c:v>
                </c:pt>
                <c:pt idx="1334">
                  <c:v>45687</c:v>
                </c:pt>
                <c:pt idx="1335">
                  <c:v>45688</c:v>
                </c:pt>
                <c:pt idx="1336">
                  <c:v>45689</c:v>
                </c:pt>
                <c:pt idx="1337">
                  <c:v>45690</c:v>
                </c:pt>
                <c:pt idx="1338">
                  <c:v>45691</c:v>
                </c:pt>
                <c:pt idx="1339">
                  <c:v>45692</c:v>
                </c:pt>
                <c:pt idx="1340">
                  <c:v>45693</c:v>
                </c:pt>
                <c:pt idx="1341">
                  <c:v>45694</c:v>
                </c:pt>
                <c:pt idx="1342">
                  <c:v>45695</c:v>
                </c:pt>
                <c:pt idx="1343">
                  <c:v>45696</c:v>
                </c:pt>
                <c:pt idx="1344">
                  <c:v>45697</c:v>
                </c:pt>
                <c:pt idx="1345">
                  <c:v>45698</c:v>
                </c:pt>
                <c:pt idx="1346">
                  <c:v>45699</c:v>
                </c:pt>
                <c:pt idx="1347">
                  <c:v>45700</c:v>
                </c:pt>
                <c:pt idx="1348">
                  <c:v>45701</c:v>
                </c:pt>
                <c:pt idx="1349">
                  <c:v>45702</c:v>
                </c:pt>
                <c:pt idx="1350">
                  <c:v>45703</c:v>
                </c:pt>
                <c:pt idx="1351">
                  <c:v>45704</c:v>
                </c:pt>
                <c:pt idx="1352">
                  <c:v>45705</c:v>
                </c:pt>
                <c:pt idx="1353">
                  <c:v>45706</c:v>
                </c:pt>
                <c:pt idx="1354">
                  <c:v>45707</c:v>
                </c:pt>
                <c:pt idx="1355">
                  <c:v>45708</c:v>
                </c:pt>
                <c:pt idx="1356">
                  <c:v>45709</c:v>
                </c:pt>
                <c:pt idx="1357">
                  <c:v>45710</c:v>
                </c:pt>
                <c:pt idx="1358">
                  <c:v>45711</c:v>
                </c:pt>
                <c:pt idx="1359">
                  <c:v>45712</c:v>
                </c:pt>
                <c:pt idx="1360">
                  <c:v>45713</c:v>
                </c:pt>
                <c:pt idx="1361">
                  <c:v>45714</c:v>
                </c:pt>
                <c:pt idx="1362">
                  <c:v>45715</c:v>
                </c:pt>
                <c:pt idx="1363">
                  <c:v>45716</c:v>
                </c:pt>
                <c:pt idx="1364">
                  <c:v>45717</c:v>
                </c:pt>
                <c:pt idx="1365">
                  <c:v>45718</c:v>
                </c:pt>
                <c:pt idx="1366">
                  <c:v>45719</c:v>
                </c:pt>
                <c:pt idx="1367">
                  <c:v>45720</c:v>
                </c:pt>
                <c:pt idx="1368">
                  <c:v>45721</c:v>
                </c:pt>
                <c:pt idx="1369">
                  <c:v>45722</c:v>
                </c:pt>
                <c:pt idx="1370">
                  <c:v>45723</c:v>
                </c:pt>
                <c:pt idx="1371">
                  <c:v>45724</c:v>
                </c:pt>
                <c:pt idx="1372">
                  <c:v>45725</c:v>
                </c:pt>
                <c:pt idx="1373">
                  <c:v>45726</c:v>
                </c:pt>
                <c:pt idx="1374">
                  <c:v>45727</c:v>
                </c:pt>
                <c:pt idx="1375">
                  <c:v>45728</c:v>
                </c:pt>
                <c:pt idx="1376">
                  <c:v>45729</c:v>
                </c:pt>
                <c:pt idx="1377">
                  <c:v>45730</c:v>
                </c:pt>
                <c:pt idx="1378">
                  <c:v>45731</c:v>
                </c:pt>
                <c:pt idx="1379">
                  <c:v>45732</c:v>
                </c:pt>
                <c:pt idx="1380">
                  <c:v>45733</c:v>
                </c:pt>
                <c:pt idx="1381">
                  <c:v>45734</c:v>
                </c:pt>
                <c:pt idx="1382">
                  <c:v>45735</c:v>
                </c:pt>
                <c:pt idx="1383">
                  <c:v>45736</c:v>
                </c:pt>
                <c:pt idx="1384">
                  <c:v>45737</c:v>
                </c:pt>
                <c:pt idx="1385">
                  <c:v>45738</c:v>
                </c:pt>
                <c:pt idx="1386">
                  <c:v>45739</c:v>
                </c:pt>
                <c:pt idx="1387">
                  <c:v>45740</c:v>
                </c:pt>
                <c:pt idx="1388">
                  <c:v>45741</c:v>
                </c:pt>
                <c:pt idx="1389">
                  <c:v>45742</c:v>
                </c:pt>
                <c:pt idx="1390">
                  <c:v>45743</c:v>
                </c:pt>
                <c:pt idx="1391">
                  <c:v>45744</c:v>
                </c:pt>
                <c:pt idx="1392">
                  <c:v>45745</c:v>
                </c:pt>
                <c:pt idx="1393">
                  <c:v>45746</c:v>
                </c:pt>
                <c:pt idx="1394">
                  <c:v>45747</c:v>
                </c:pt>
                <c:pt idx="1395">
                  <c:v>45748</c:v>
                </c:pt>
                <c:pt idx="1396">
                  <c:v>45749</c:v>
                </c:pt>
                <c:pt idx="1397">
                  <c:v>45750</c:v>
                </c:pt>
                <c:pt idx="1398">
                  <c:v>45751</c:v>
                </c:pt>
                <c:pt idx="1399">
                  <c:v>45752</c:v>
                </c:pt>
                <c:pt idx="1400">
                  <c:v>45753</c:v>
                </c:pt>
                <c:pt idx="1401">
                  <c:v>45754</c:v>
                </c:pt>
                <c:pt idx="1402">
                  <c:v>45755</c:v>
                </c:pt>
                <c:pt idx="1403">
                  <c:v>45756</c:v>
                </c:pt>
                <c:pt idx="1404">
                  <c:v>45757</c:v>
                </c:pt>
                <c:pt idx="1405">
                  <c:v>45758</c:v>
                </c:pt>
                <c:pt idx="1406">
                  <c:v>45759</c:v>
                </c:pt>
                <c:pt idx="1407">
                  <c:v>45760</c:v>
                </c:pt>
                <c:pt idx="1408">
                  <c:v>45761</c:v>
                </c:pt>
                <c:pt idx="1409">
                  <c:v>45762</c:v>
                </c:pt>
                <c:pt idx="1410">
                  <c:v>45763</c:v>
                </c:pt>
                <c:pt idx="1411">
                  <c:v>45764</c:v>
                </c:pt>
                <c:pt idx="1412">
                  <c:v>45765</c:v>
                </c:pt>
                <c:pt idx="1413">
                  <c:v>45766</c:v>
                </c:pt>
                <c:pt idx="1414">
                  <c:v>45767</c:v>
                </c:pt>
                <c:pt idx="1415">
                  <c:v>45768</c:v>
                </c:pt>
                <c:pt idx="1416">
                  <c:v>45769</c:v>
                </c:pt>
                <c:pt idx="1417">
                  <c:v>45770</c:v>
                </c:pt>
                <c:pt idx="1418">
                  <c:v>45771</c:v>
                </c:pt>
                <c:pt idx="1419">
                  <c:v>45772</c:v>
                </c:pt>
                <c:pt idx="1420">
                  <c:v>45773</c:v>
                </c:pt>
                <c:pt idx="1421">
                  <c:v>45774</c:v>
                </c:pt>
                <c:pt idx="1422">
                  <c:v>45775</c:v>
                </c:pt>
                <c:pt idx="1423">
                  <c:v>45776</c:v>
                </c:pt>
                <c:pt idx="1424">
                  <c:v>45777</c:v>
                </c:pt>
                <c:pt idx="1425">
                  <c:v>45778</c:v>
                </c:pt>
                <c:pt idx="1426">
                  <c:v>45779</c:v>
                </c:pt>
                <c:pt idx="1427">
                  <c:v>45780</c:v>
                </c:pt>
                <c:pt idx="1428">
                  <c:v>45781</c:v>
                </c:pt>
                <c:pt idx="1429">
                  <c:v>45782</c:v>
                </c:pt>
                <c:pt idx="1430">
                  <c:v>45783</c:v>
                </c:pt>
                <c:pt idx="1431">
                  <c:v>45784</c:v>
                </c:pt>
                <c:pt idx="1432">
                  <c:v>45785</c:v>
                </c:pt>
                <c:pt idx="1433">
                  <c:v>45786</c:v>
                </c:pt>
                <c:pt idx="1434">
                  <c:v>45787</c:v>
                </c:pt>
                <c:pt idx="1435">
                  <c:v>45788</c:v>
                </c:pt>
                <c:pt idx="1436">
                  <c:v>45789</c:v>
                </c:pt>
                <c:pt idx="1437">
                  <c:v>45790</c:v>
                </c:pt>
                <c:pt idx="1438">
                  <c:v>45791</c:v>
                </c:pt>
                <c:pt idx="1439">
                  <c:v>45792</c:v>
                </c:pt>
                <c:pt idx="1440">
                  <c:v>45793</c:v>
                </c:pt>
                <c:pt idx="1441">
                  <c:v>45794</c:v>
                </c:pt>
                <c:pt idx="1442">
                  <c:v>45795</c:v>
                </c:pt>
                <c:pt idx="1443">
                  <c:v>45796</c:v>
                </c:pt>
                <c:pt idx="1444">
                  <c:v>45797</c:v>
                </c:pt>
                <c:pt idx="1445">
                  <c:v>45798</c:v>
                </c:pt>
                <c:pt idx="1446">
                  <c:v>45799</c:v>
                </c:pt>
                <c:pt idx="1447">
                  <c:v>45800</c:v>
                </c:pt>
                <c:pt idx="1448">
                  <c:v>45801</c:v>
                </c:pt>
                <c:pt idx="1449">
                  <c:v>45802</c:v>
                </c:pt>
                <c:pt idx="1450">
                  <c:v>45803</c:v>
                </c:pt>
                <c:pt idx="1451">
                  <c:v>45804</c:v>
                </c:pt>
                <c:pt idx="1452">
                  <c:v>45805</c:v>
                </c:pt>
                <c:pt idx="1453">
                  <c:v>45806</c:v>
                </c:pt>
                <c:pt idx="1454">
                  <c:v>45807</c:v>
                </c:pt>
                <c:pt idx="1455">
                  <c:v>45808</c:v>
                </c:pt>
                <c:pt idx="1456">
                  <c:v>45809</c:v>
                </c:pt>
                <c:pt idx="1457">
                  <c:v>45810</c:v>
                </c:pt>
                <c:pt idx="1458">
                  <c:v>45811</c:v>
                </c:pt>
                <c:pt idx="1459">
                  <c:v>45812</c:v>
                </c:pt>
                <c:pt idx="1460">
                  <c:v>45813</c:v>
                </c:pt>
                <c:pt idx="1461">
                  <c:v>45814</c:v>
                </c:pt>
                <c:pt idx="1462">
                  <c:v>45815</c:v>
                </c:pt>
                <c:pt idx="1463">
                  <c:v>45816</c:v>
                </c:pt>
                <c:pt idx="1464">
                  <c:v>45817</c:v>
                </c:pt>
                <c:pt idx="1465">
                  <c:v>45818</c:v>
                </c:pt>
                <c:pt idx="1466">
                  <c:v>45819</c:v>
                </c:pt>
                <c:pt idx="1467">
                  <c:v>45820</c:v>
                </c:pt>
                <c:pt idx="1468">
                  <c:v>45821</c:v>
                </c:pt>
                <c:pt idx="1469">
                  <c:v>45822</c:v>
                </c:pt>
                <c:pt idx="1470">
                  <c:v>45823</c:v>
                </c:pt>
                <c:pt idx="1471">
                  <c:v>45824</c:v>
                </c:pt>
                <c:pt idx="1472">
                  <c:v>45825</c:v>
                </c:pt>
                <c:pt idx="1473">
                  <c:v>45826</c:v>
                </c:pt>
                <c:pt idx="1474">
                  <c:v>45827</c:v>
                </c:pt>
                <c:pt idx="1475">
                  <c:v>45828</c:v>
                </c:pt>
                <c:pt idx="1476">
                  <c:v>45829</c:v>
                </c:pt>
                <c:pt idx="1477">
                  <c:v>45830</c:v>
                </c:pt>
                <c:pt idx="1478">
                  <c:v>45831</c:v>
                </c:pt>
                <c:pt idx="1479">
                  <c:v>45832</c:v>
                </c:pt>
                <c:pt idx="1480">
                  <c:v>45833</c:v>
                </c:pt>
                <c:pt idx="1481">
                  <c:v>45834</c:v>
                </c:pt>
                <c:pt idx="1482">
                  <c:v>45835</c:v>
                </c:pt>
                <c:pt idx="1483">
                  <c:v>45836</c:v>
                </c:pt>
                <c:pt idx="1484">
                  <c:v>45837</c:v>
                </c:pt>
                <c:pt idx="1485">
                  <c:v>45838</c:v>
                </c:pt>
                <c:pt idx="1486">
                  <c:v>45839</c:v>
                </c:pt>
                <c:pt idx="1487">
                  <c:v>45840</c:v>
                </c:pt>
                <c:pt idx="1488">
                  <c:v>45841</c:v>
                </c:pt>
                <c:pt idx="1489">
                  <c:v>45842</c:v>
                </c:pt>
                <c:pt idx="1490">
                  <c:v>45843</c:v>
                </c:pt>
                <c:pt idx="1491">
                  <c:v>45844</c:v>
                </c:pt>
                <c:pt idx="1492">
                  <c:v>45845</c:v>
                </c:pt>
                <c:pt idx="1493">
                  <c:v>45846</c:v>
                </c:pt>
                <c:pt idx="1494">
                  <c:v>45847</c:v>
                </c:pt>
                <c:pt idx="1495">
                  <c:v>45848</c:v>
                </c:pt>
                <c:pt idx="1496">
                  <c:v>45849</c:v>
                </c:pt>
                <c:pt idx="1497">
                  <c:v>45850</c:v>
                </c:pt>
              </c:numCache>
            </c:numRef>
          </c:xVal>
          <c:yVal>
            <c:numRef>
              <c:f>'All COVID-19 vaccine data'!$B$971:$BFL$971</c:f>
              <c:numCache>
                <c:formatCode>General</c:formatCode>
                <c:ptCount val="1519"/>
                <c:pt idx="70" formatCode="0">
                  <c:v>8485.1428571428569</c:v>
                </c:pt>
                <c:pt idx="71" formatCode="0">
                  <c:v>9458</c:v>
                </c:pt>
                <c:pt idx="72" formatCode="0">
                  <c:v>10398.285714285714</c:v>
                </c:pt>
                <c:pt idx="73" formatCode="0">
                  <c:v>11402</c:v>
                </c:pt>
                <c:pt idx="74" formatCode="0">
                  <c:v>12541.857142857143</c:v>
                </c:pt>
                <c:pt idx="75" formatCode="0">
                  <c:v>13523.428571428571</c:v>
                </c:pt>
                <c:pt idx="76" formatCode="0">
                  <c:v>13714.142857142857</c:v>
                </c:pt>
                <c:pt idx="77" formatCode="0">
                  <c:v>13701.428571428571</c:v>
                </c:pt>
                <c:pt idx="78" formatCode="0">
                  <c:v>14258.857142857143</c:v>
                </c:pt>
                <c:pt idx="79" formatCode="0">
                  <c:v>14555.857142857143</c:v>
                </c:pt>
                <c:pt idx="80" formatCode="0">
                  <c:v>14658.857142857143</c:v>
                </c:pt>
                <c:pt idx="81" formatCode="0">
                  <c:v>14829.857142857143</c:v>
                </c:pt>
                <c:pt idx="82" formatCode="0">
                  <c:v>14871.428571428571</c:v>
                </c:pt>
                <c:pt idx="83" formatCode="0">
                  <c:v>14899.714285714286</c:v>
                </c:pt>
                <c:pt idx="84" formatCode="0">
                  <c:v>14861.857142857143</c:v>
                </c:pt>
                <c:pt idx="85" formatCode="0">
                  <c:v>14642.857142857143</c:v>
                </c:pt>
                <c:pt idx="86" formatCode="0">
                  <c:v>14457.714285714286</c:v>
                </c:pt>
                <c:pt idx="87" formatCode="0">
                  <c:v>14264</c:v>
                </c:pt>
                <c:pt idx="88" formatCode="0">
                  <c:v>13893</c:v>
                </c:pt>
                <c:pt idx="89" formatCode="0">
                  <c:v>13721.285714285714</c:v>
                </c:pt>
                <c:pt idx="90" formatCode="0">
                  <c:v>13725.428571428571</c:v>
                </c:pt>
                <c:pt idx="91" formatCode="0">
                  <c:v>13654.428571428571</c:v>
                </c:pt>
                <c:pt idx="92" formatCode="0">
                  <c:v>13791.142857142857</c:v>
                </c:pt>
                <c:pt idx="93" formatCode="0">
                  <c:v>13953.714285714286</c:v>
                </c:pt>
                <c:pt idx="94" formatCode="0">
                  <c:v>14040.285714285714</c:v>
                </c:pt>
                <c:pt idx="95" formatCode="0">
                  <c:v>14032.571428571429</c:v>
                </c:pt>
                <c:pt idx="96" formatCode="0">
                  <c:v>14318.714285714286</c:v>
                </c:pt>
                <c:pt idx="97" formatCode="0">
                  <c:v>14286</c:v>
                </c:pt>
                <c:pt idx="98" formatCode="0">
                  <c:v>14461.857142857143</c:v>
                </c:pt>
                <c:pt idx="99" formatCode="0">
                  <c:v>14203</c:v>
                </c:pt>
                <c:pt idx="100" formatCode="0">
                  <c:v>13799.714285714286</c:v>
                </c:pt>
                <c:pt idx="101" formatCode="0">
                  <c:v>13403.571428571429</c:v>
                </c:pt>
                <c:pt idx="102" formatCode="0">
                  <c:v>13021.428571428571</c:v>
                </c:pt>
                <c:pt idx="103" formatCode="0">
                  <c:v>12598.142857142857</c:v>
                </c:pt>
                <c:pt idx="104" formatCode="0">
                  <c:v>12474.428571428571</c:v>
                </c:pt>
                <c:pt idx="105" formatCode="0">
                  <c:v>12352</c:v>
                </c:pt>
                <c:pt idx="106" formatCode="0">
                  <c:v>12214.714285714286</c:v>
                </c:pt>
                <c:pt idx="107" formatCode="0">
                  <c:v>12116.571428571429</c:v>
                </c:pt>
                <c:pt idx="108" formatCode="0">
                  <c:v>12596.142857142857</c:v>
                </c:pt>
                <c:pt idx="109" formatCode="0">
                  <c:v>13797.285714285714</c:v>
                </c:pt>
                <c:pt idx="110" formatCode="0">
                  <c:v>14644.142857142857</c:v>
                </c:pt>
                <c:pt idx="111" formatCode="0">
                  <c:v>15737</c:v>
                </c:pt>
                <c:pt idx="112" formatCode="0">
                  <c:v>16201.142857142857</c:v>
                </c:pt>
                <c:pt idx="113" formatCode="0">
                  <c:v>18427.428571428572</c:v>
                </c:pt>
                <c:pt idx="114" formatCode="0">
                  <c:v>21208.285714285714</c:v>
                </c:pt>
                <c:pt idx="115" formatCode="0">
                  <c:v>23571.142857142859</c:v>
                </c:pt>
                <c:pt idx="116" formatCode="0">
                  <c:v>25458.285714285714</c:v>
                </c:pt>
                <c:pt idx="117" formatCode="0">
                  <c:v>27876.142857142859</c:v>
                </c:pt>
                <c:pt idx="118" formatCode="0">
                  <c:v>28404.571428571428</c:v>
                </c:pt>
                <c:pt idx="119" formatCode="0">
                  <c:v>28468.714285714286</c:v>
                </c:pt>
                <c:pt idx="120" formatCode="0">
                  <c:v>26835.285714285714</c:v>
                </c:pt>
                <c:pt idx="121" formatCode="0">
                  <c:v>27785.857142857141</c:v>
                </c:pt>
                <c:pt idx="122" formatCode="0">
                  <c:v>28605.714285714286</c:v>
                </c:pt>
                <c:pt idx="123" formatCode="0">
                  <c:v>28863.857142857141</c:v>
                </c:pt>
                <c:pt idx="124" formatCode="0">
                  <c:v>28765.571428571428</c:v>
                </c:pt>
                <c:pt idx="125" formatCode="0">
                  <c:v>28557</c:v>
                </c:pt>
                <c:pt idx="126" formatCode="0">
                  <c:v>28461.857142857141</c:v>
                </c:pt>
                <c:pt idx="127" formatCode="0">
                  <c:v>30993.142857142859</c:v>
                </c:pt>
                <c:pt idx="128" formatCode="0">
                  <c:v>29875.142857142859</c:v>
                </c:pt>
                <c:pt idx="129" formatCode="0">
                  <c:v>28687.428571428572</c:v>
                </c:pt>
                <c:pt idx="130" formatCode="0">
                  <c:v>27848.571428571428</c:v>
                </c:pt>
                <c:pt idx="131" formatCode="0">
                  <c:v>27023.285714285714</c:v>
                </c:pt>
                <c:pt idx="132" formatCode="0">
                  <c:v>26412.285714285714</c:v>
                </c:pt>
                <c:pt idx="133" formatCode="0">
                  <c:v>26200.571428571428</c:v>
                </c:pt>
                <c:pt idx="134" formatCode="0">
                  <c:v>24950.428571428572</c:v>
                </c:pt>
                <c:pt idx="135" formatCode="0">
                  <c:v>24382.428571428572</c:v>
                </c:pt>
                <c:pt idx="136" formatCode="0">
                  <c:v>24273.571428571428</c:v>
                </c:pt>
                <c:pt idx="137" formatCode="0">
                  <c:v>24583.285714285714</c:v>
                </c:pt>
                <c:pt idx="138" formatCode="0">
                  <c:v>25034.857142857141</c:v>
                </c:pt>
                <c:pt idx="139" formatCode="0">
                  <c:v>25783.571428571428</c:v>
                </c:pt>
                <c:pt idx="140" formatCode="0">
                  <c:v>26085.857142857141</c:v>
                </c:pt>
                <c:pt idx="141" formatCode="0">
                  <c:v>27251.285714285714</c:v>
                </c:pt>
                <c:pt idx="142" formatCode="0">
                  <c:v>28381</c:v>
                </c:pt>
                <c:pt idx="143" formatCode="0">
                  <c:v>29324.428571428572</c:v>
                </c:pt>
                <c:pt idx="144" formatCode="0">
                  <c:v>30183.428571428572</c:v>
                </c:pt>
                <c:pt idx="145" formatCode="0">
                  <c:v>30795</c:v>
                </c:pt>
                <c:pt idx="146" formatCode="0">
                  <c:v>30988.571428571428</c:v>
                </c:pt>
                <c:pt idx="147" formatCode="0">
                  <c:v>30949.142857142859</c:v>
                </c:pt>
                <c:pt idx="148" formatCode="0">
                  <c:v>30283.857142857141</c:v>
                </c:pt>
                <c:pt idx="149" formatCode="0">
                  <c:v>28815.714285714286</c:v>
                </c:pt>
                <c:pt idx="150" formatCode="0">
                  <c:v>30062.714285714286</c:v>
                </c:pt>
                <c:pt idx="151" formatCode="0">
                  <c:v>28131.285714285714</c:v>
                </c:pt>
                <c:pt idx="152" formatCode="0">
                  <c:v>27514.714285714286</c:v>
                </c:pt>
                <c:pt idx="153" formatCode="0">
                  <c:v>26866.428571428572</c:v>
                </c:pt>
                <c:pt idx="154" formatCode="0">
                  <c:v>26611.142857142859</c:v>
                </c:pt>
                <c:pt idx="155" formatCode="0">
                  <c:v>26330.142857142859</c:v>
                </c:pt>
                <c:pt idx="156" formatCode="0">
                  <c:v>26584</c:v>
                </c:pt>
                <c:pt idx="157" formatCode="0">
                  <c:v>25978.571428571428</c:v>
                </c:pt>
                <c:pt idx="158" formatCode="0">
                  <c:v>25624.285714285714</c:v>
                </c:pt>
                <c:pt idx="159" formatCode="0">
                  <c:v>25240.714285714286</c:v>
                </c:pt>
                <c:pt idx="160" formatCode="0">
                  <c:v>24900</c:v>
                </c:pt>
                <c:pt idx="161" formatCode="0">
                  <c:v>24917.857142857141</c:v>
                </c:pt>
                <c:pt idx="162" formatCode="0.00">
                  <c:v>24798.857142857141</c:v>
                </c:pt>
                <c:pt idx="163" formatCode="0.00">
                  <c:v>24718.571428571428</c:v>
                </c:pt>
                <c:pt idx="164" formatCode="0.00">
                  <c:v>23817.142857142859</c:v>
                </c:pt>
                <c:pt idx="165" formatCode="0.00">
                  <c:v>22890.428571428572</c:v>
                </c:pt>
                <c:pt idx="166" formatCode="0.00">
                  <c:v>22080.571428571428</c:v>
                </c:pt>
                <c:pt idx="167" formatCode="0.00">
                  <c:v>21857.285714285714</c:v>
                </c:pt>
                <c:pt idx="168" formatCode="0.00">
                  <c:v>21773.714285714286</c:v>
                </c:pt>
                <c:pt idx="169" formatCode="0.00">
                  <c:v>21168.714285714286</c:v>
                </c:pt>
                <c:pt idx="170" formatCode="0.00">
                  <c:v>20611.571428571428</c:v>
                </c:pt>
                <c:pt idx="171" formatCode="0.00">
                  <c:v>20114.714285714286</c:v>
                </c:pt>
                <c:pt idx="172" formatCode="0.00">
                  <c:v>19690</c:v>
                </c:pt>
                <c:pt idx="173" formatCode="0.00">
                  <c:v>19016.714285714286</c:v>
                </c:pt>
                <c:pt idx="174" formatCode="0.00">
                  <c:v>18704.857142857141</c:v>
                </c:pt>
                <c:pt idx="175" formatCode="0.00">
                  <c:v>18624.571428571428</c:v>
                </c:pt>
                <c:pt idx="176" formatCode="0.00">
                  <c:v>18107.142857142859</c:v>
                </c:pt>
                <c:pt idx="177" formatCode="0.00">
                  <c:v>17568.714285714286</c:v>
                </c:pt>
                <c:pt idx="178" formatCode="0.00">
                  <c:v>16948.285714285714</c:v>
                </c:pt>
                <c:pt idx="179" formatCode="0.00">
                  <c:v>16114</c:v>
                </c:pt>
                <c:pt idx="180" formatCode="0.00">
                  <c:v>15464.285714285714</c:v>
                </c:pt>
                <c:pt idx="181" formatCode="0.00">
                  <c:v>15269.142857142857</c:v>
                </c:pt>
                <c:pt idx="182" formatCode="0.00">
                  <c:v>15215.285714285714</c:v>
                </c:pt>
                <c:pt idx="183" formatCode="0.00">
                  <c:v>14786.857142857143</c:v>
                </c:pt>
                <c:pt idx="184" formatCode="0">
                  <c:v>14506.428571428571</c:v>
                </c:pt>
                <c:pt idx="185" formatCode="0">
                  <c:v>14666</c:v>
                </c:pt>
                <c:pt idx="186" formatCode="0">
                  <c:v>15083.857142857143</c:v>
                </c:pt>
                <c:pt idx="187" formatCode="0">
                  <c:v>14941</c:v>
                </c:pt>
                <c:pt idx="188" formatCode="0">
                  <c:v>15062.142857142857</c:v>
                </c:pt>
                <c:pt idx="189" formatCode="0">
                  <c:v>15295.571428571429</c:v>
                </c:pt>
                <c:pt idx="190" formatCode="0">
                  <c:v>17752.714285714286</c:v>
                </c:pt>
                <c:pt idx="191" formatCode="0">
                  <c:v>20974.714285714286</c:v>
                </c:pt>
                <c:pt idx="192" formatCode="0">
                  <c:v>24722.857142857141</c:v>
                </c:pt>
                <c:pt idx="193" formatCode="0">
                  <c:v>29244.571428571428</c:v>
                </c:pt>
                <c:pt idx="194" formatCode="0">
                  <c:v>33715</c:v>
                </c:pt>
                <c:pt idx="195" formatCode="0">
                  <c:v>35557.142857142855</c:v>
                </c:pt>
                <c:pt idx="196" formatCode="0">
                  <c:v>36158.714285714283</c:v>
                </c:pt>
                <c:pt idx="197" formatCode="0">
                  <c:v>38663.571428571428</c:v>
                </c:pt>
                <c:pt idx="198" formatCode="0">
                  <c:v>40651.285714285717</c:v>
                </c:pt>
                <c:pt idx="199" formatCode="0">
                  <c:v>42205.714285714283</c:v>
                </c:pt>
                <c:pt idx="200" formatCode="0">
                  <c:v>42367.285714285717</c:v>
                </c:pt>
                <c:pt idx="203" formatCode="0">
                  <c:v>36291.142857142855</c:v>
                </c:pt>
                <c:pt idx="204" formatCode="0">
                  <c:v>30408.571428571428</c:v>
                </c:pt>
                <c:pt idx="205" formatCode="0">
                  <c:v>24578.285714285714</c:v>
                </c:pt>
                <c:pt idx="206" formatCode="0">
                  <c:v>25427.571428571428</c:v>
                </c:pt>
                <c:pt idx="207" formatCode="0">
                  <c:v>26390.428571428572</c:v>
                </c:pt>
                <c:pt idx="210" formatCode="0">
                  <c:v>28414.142857142859</c:v>
                </c:pt>
                <c:pt idx="211" formatCode="0">
                  <c:v>28700.142857142859</c:v>
                </c:pt>
                <c:pt idx="212" formatCode="0">
                  <c:v>36968</c:v>
                </c:pt>
                <c:pt idx="213" formatCode="0">
                  <c:v>39721.571428571428</c:v>
                </c:pt>
                <c:pt idx="214" formatCode="0">
                  <c:v>42947.571428571428</c:v>
                </c:pt>
                <c:pt idx="215" formatCode="0">
                  <c:v>47771.285714285717</c:v>
                </c:pt>
                <c:pt idx="216" formatCode="0">
                  <c:v>52019.571428571428</c:v>
                </c:pt>
                <c:pt idx="217" formatCode="0">
                  <c:v>52863.428571428572</c:v>
                </c:pt>
                <c:pt idx="218" formatCode="0">
                  <c:v>61892.142857142855</c:v>
                </c:pt>
                <c:pt idx="219" formatCode="0">
                  <c:v>63196.857142857145</c:v>
                </c:pt>
                <c:pt idx="220" formatCode="0">
                  <c:v>63470.714285714283</c:v>
                </c:pt>
                <c:pt idx="221" formatCode="0">
                  <c:v>63469</c:v>
                </c:pt>
                <c:pt idx="222">
                  <c:v>64108.142857142855</c:v>
                </c:pt>
                <c:pt idx="223">
                  <c:v>64247</c:v>
                </c:pt>
                <c:pt idx="224">
                  <c:v>64229.142857142855</c:v>
                </c:pt>
                <c:pt idx="225">
                  <c:v>63975.857142857145</c:v>
                </c:pt>
                <c:pt idx="226">
                  <c:v>63288.142857142855</c:v>
                </c:pt>
                <c:pt idx="227">
                  <c:v>62946.857142857145</c:v>
                </c:pt>
                <c:pt idx="228">
                  <c:v>62930.857142857145</c:v>
                </c:pt>
                <c:pt idx="229">
                  <c:v>62946.142857142855</c:v>
                </c:pt>
                <c:pt idx="230">
                  <c:v>62120</c:v>
                </c:pt>
                <c:pt idx="231">
                  <c:v>62561.428571428572</c:v>
                </c:pt>
                <c:pt idx="232">
                  <c:v>62605.714285714283</c:v>
                </c:pt>
                <c:pt idx="233">
                  <c:v>63248.142857142855</c:v>
                </c:pt>
                <c:pt idx="234">
                  <c:v>53584</c:v>
                </c:pt>
                <c:pt idx="235">
                  <c:v>52342.142857142855</c:v>
                </c:pt>
                <c:pt idx="236">
                  <c:v>51096</c:v>
                </c:pt>
                <c:pt idx="237">
                  <c:v>50611.142857142855</c:v>
                </c:pt>
                <c:pt idx="238">
                  <c:v>50213</c:v>
                </c:pt>
                <c:pt idx="239">
                  <c:v>48694.285714285717</c:v>
                </c:pt>
                <c:pt idx="240">
                  <c:v>46293.285714285717</c:v>
                </c:pt>
                <c:pt idx="241">
                  <c:v>54002.428571428572</c:v>
                </c:pt>
                <c:pt idx="242">
                  <c:v>53087.142857142855</c:v>
                </c:pt>
                <c:pt idx="243">
                  <c:v>52770.714285714283</c:v>
                </c:pt>
                <c:pt idx="244">
                  <c:v>52502.714285714283</c:v>
                </c:pt>
                <c:pt idx="245">
                  <c:v>52227.857142857145</c:v>
                </c:pt>
                <c:pt idx="246">
                  <c:v>51008.285714285717</c:v>
                </c:pt>
                <c:pt idx="247">
                  <c:v>49493.285714285717</c:v>
                </c:pt>
                <c:pt idx="248">
                  <c:v>47574</c:v>
                </c:pt>
                <c:pt idx="249">
                  <c:v>45657.571428571428</c:v>
                </c:pt>
                <c:pt idx="250">
                  <c:v>44072.285714285717</c:v>
                </c:pt>
                <c:pt idx="251">
                  <c:v>43408.285714285717</c:v>
                </c:pt>
                <c:pt idx="252">
                  <c:v>43155.142857142855</c:v>
                </c:pt>
                <c:pt idx="253">
                  <c:v>41361.857142857145</c:v>
                </c:pt>
                <c:pt idx="254">
                  <c:v>39686.714285714283</c:v>
                </c:pt>
                <c:pt idx="255">
                  <c:v>38203.285714285717</c:v>
                </c:pt>
                <c:pt idx="256">
                  <c:v>36673.428571428572</c:v>
                </c:pt>
                <c:pt idx="257">
                  <c:v>35135.428571428572</c:v>
                </c:pt>
                <c:pt idx="258">
                  <c:v>34777.142857142855</c:v>
                </c:pt>
                <c:pt idx="259">
                  <c:v>34747.857142857145</c:v>
                </c:pt>
                <c:pt idx="260">
                  <c:v>34230.285714285717</c:v>
                </c:pt>
                <c:pt idx="261">
                  <c:v>33432.428571428572</c:v>
                </c:pt>
                <c:pt idx="262">
                  <c:v>32526</c:v>
                </c:pt>
                <c:pt idx="263">
                  <c:v>31540.857142857141</c:v>
                </c:pt>
                <c:pt idx="264">
                  <c:v>30525.142857142859</c:v>
                </c:pt>
                <c:pt idx="265">
                  <c:v>30027</c:v>
                </c:pt>
                <c:pt idx="266">
                  <c:v>29791.714285714286</c:v>
                </c:pt>
                <c:pt idx="267">
                  <c:v>28449.428571428572</c:v>
                </c:pt>
                <c:pt idx="268">
                  <c:v>26937.714285714286</c:v>
                </c:pt>
                <c:pt idx="269">
                  <c:v>25677.857142857141</c:v>
                </c:pt>
                <c:pt idx="270">
                  <c:v>24432</c:v>
                </c:pt>
                <c:pt idx="271">
                  <c:v>23279.142857142859</c:v>
                </c:pt>
                <c:pt idx="272">
                  <c:v>22825.857142857141</c:v>
                </c:pt>
                <c:pt idx="273">
                  <c:v>22649.285714285714</c:v>
                </c:pt>
                <c:pt idx="274">
                  <c:v>21221.428571428572</c:v>
                </c:pt>
                <c:pt idx="275">
                  <c:v>20673.571428571428</c:v>
                </c:pt>
                <c:pt idx="276">
                  <c:v>20218.142857142859</c:v>
                </c:pt>
                <c:pt idx="277">
                  <c:v>19875</c:v>
                </c:pt>
                <c:pt idx="278">
                  <c:v>20131</c:v>
                </c:pt>
                <c:pt idx="279">
                  <c:v>20131</c:v>
                </c:pt>
                <c:pt idx="280">
                  <c:v>20214.285714285714</c:v>
                </c:pt>
                <c:pt idx="281">
                  <c:v>19992.571428571428</c:v>
                </c:pt>
                <c:pt idx="282">
                  <c:v>20239.428571428572</c:v>
                </c:pt>
                <c:pt idx="283">
                  <c:v>20210.571428571428</c:v>
                </c:pt>
                <c:pt idx="284">
                  <c:v>20195.285714285714</c:v>
                </c:pt>
                <c:pt idx="285">
                  <c:v>19772.428571428572</c:v>
                </c:pt>
                <c:pt idx="286">
                  <c:v>19656.714285714286</c:v>
                </c:pt>
                <c:pt idx="287">
                  <c:v>19654.428571428572</c:v>
                </c:pt>
                <c:pt idx="288">
                  <c:v>20204.857142857141</c:v>
                </c:pt>
                <c:pt idx="289">
                  <c:v>19570.857142857141</c:v>
                </c:pt>
                <c:pt idx="290">
                  <c:v>18992.428571428572</c:v>
                </c:pt>
                <c:pt idx="291">
                  <c:v>18564.714285714286</c:v>
                </c:pt>
                <c:pt idx="292">
                  <c:v>18054</c:v>
                </c:pt>
                <c:pt idx="293">
                  <c:v>17752.428571428572</c:v>
                </c:pt>
                <c:pt idx="294">
                  <c:v>17752.428571428572</c:v>
                </c:pt>
                <c:pt idx="295">
                  <c:v>17315.571428571428</c:v>
                </c:pt>
                <c:pt idx="296">
                  <c:v>16978.571428571428</c:v>
                </c:pt>
                <c:pt idx="297">
                  <c:v>16668.428571428572</c:v>
                </c:pt>
                <c:pt idx="298">
                  <c:v>16108.857142857143</c:v>
                </c:pt>
                <c:pt idx="299">
                  <c:v>15419.571428571429</c:v>
                </c:pt>
                <c:pt idx="300">
                  <c:v>14915.571428571429</c:v>
                </c:pt>
                <c:pt idx="301">
                  <c:v>14741.714285714286</c:v>
                </c:pt>
                <c:pt idx="302">
                  <c:v>14182.142857142857</c:v>
                </c:pt>
                <c:pt idx="303">
                  <c:v>13753.428571428571</c:v>
                </c:pt>
                <c:pt idx="304">
                  <c:v>13389.142857142857</c:v>
                </c:pt>
                <c:pt idx="305">
                  <c:v>13077.571428571429</c:v>
                </c:pt>
                <c:pt idx="306">
                  <c:v>12892.857142857143</c:v>
                </c:pt>
                <c:pt idx="307">
                  <c:v>12675</c:v>
                </c:pt>
                <c:pt idx="308">
                  <c:v>12632.285714285714</c:v>
                </c:pt>
                <c:pt idx="309">
                  <c:v>12564.857142857143</c:v>
                </c:pt>
                <c:pt idx="310">
                  <c:v>12328.714285714286</c:v>
                </c:pt>
                <c:pt idx="311">
                  <c:v>12195.142857142857</c:v>
                </c:pt>
                <c:pt idx="312">
                  <c:v>12313.142857142857</c:v>
                </c:pt>
                <c:pt idx="313">
                  <c:v>10080.285714285714</c:v>
                </c:pt>
                <c:pt idx="314">
                  <c:v>9613.5714285714294</c:v>
                </c:pt>
                <c:pt idx="315">
                  <c:v>9362.4285714285706</c:v>
                </c:pt>
                <c:pt idx="316">
                  <c:v>7326.1428571428569</c:v>
                </c:pt>
                <c:pt idx="317">
                  <c:v>7766.7142857142853</c:v>
                </c:pt>
                <c:pt idx="318">
                  <c:v>8170.8571428571431</c:v>
                </c:pt>
                <c:pt idx="319">
                  <c:v>8328.8571428571431</c:v>
                </c:pt>
                <c:pt idx="320">
                  <c:v>10668.142857142857</c:v>
                </c:pt>
                <c:pt idx="321">
                  <c:v>11069.428571428571</c:v>
                </c:pt>
                <c:pt idx="322">
                  <c:v>11260.857142857143</c:v>
                </c:pt>
                <c:pt idx="323">
                  <c:v>11146.285714285714</c:v>
                </c:pt>
                <c:pt idx="324">
                  <c:v>10962.285714285714</c:v>
                </c:pt>
                <c:pt idx="325">
                  <c:v>10304.571428571429</c:v>
                </c:pt>
                <c:pt idx="326">
                  <c:v>10304.571428571429</c:v>
                </c:pt>
                <c:pt idx="327">
                  <c:v>10053.857142857143</c:v>
                </c:pt>
                <c:pt idx="328">
                  <c:v>9981.1428571428569</c:v>
                </c:pt>
                <c:pt idx="329">
                  <c:v>9929.8571428571431</c:v>
                </c:pt>
                <c:pt idx="330">
                  <c:v>11505.428571428571</c:v>
                </c:pt>
                <c:pt idx="331">
                  <c:v>11195.142857142857</c:v>
                </c:pt>
                <c:pt idx="332">
                  <c:v>11307.428571428571</c:v>
                </c:pt>
                <c:pt idx="333">
                  <c:v>11598.285714285714</c:v>
                </c:pt>
                <c:pt idx="334">
                  <c:v>11745.428571428571</c:v>
                </c:pt>
                <c:pt idx="335">
                  <c:v>11565.571428571429</c:v>
                </c:pt>
                <c:pt idx="336">
                  <c:v>11537.714285714286</c:v>
                </c:pt>
                <c:pt idx="337">
                  <c:v>12078.285714285714</c:v>
                </c:pt>
                <c:pt idx="338">
                  <c:v>12415.428571428571</c:v>
                </c:pt>
                <c:pt idx="339">
                  <c:v>12544.285714285714</c:v>
                </c:pt>
                <c:pt idx="340">
                  <c:v>12630.571428571429</c:v>
                </c:pt>
                <c:pt idx="341">
                  <c:v>12620.142857142857</c:v>
                </c:pt>
                <c:pt idx="342">
                  <c:v>12594.428571428571</c:v>
                </c:pt>
                <c:pt idx="343">
                  <c:v>12611.285714285714</c:v>
                </c:pt>
                <c:pt idx="344">
                  <c:v>12661.714285714286</c:v>
                </c:pt>
                <c:pt idx="345">
                  <c:v>12572.857142857143</c:v>
                </c:pt>
                <c:pt idx="346">
                  <c:v>12516.857142857143</c:v>
                </c:pt>
                <c:pt idx="347">
                  <c:v>12482.285714285714</c:v>
                </c:pt>
                <c:pt idx="348">
                  <c:v>12470</c:v>
                </c:pt>
                <c:pt idx="349">
                  <c:v>12406.285714285714</c:v>
                </c:pt>
                <c:pt idx="350">
                  <c:v>12357.428571428571</c:v>
                </c:pt>
                <c:pt idx="351">
                  <c:v>11999.571428571429</c:v>
                </c:pt>
                <c:pt idx="352">
                  <c:v>11850.714285714286</c:v>
                </c:pt>
                <c:pt idx="353">
                  <c:v>11580.428571428571</c:v>
                </c:pt>
                <c:pt idx="354">
                  <c:v>11494</c:v>
                </c:pt>
                <c:pt idx="355">
                  <c:v>11330.714285714286</c:v>
                </c:pt>
                <c:pt idx="356">
                  <c:v>11341.857142857143</c:v>
                </c:pt>
                <c:pt idx="357">
                  <c:v>11355.285714285714</c:v>
                </c:pt>
                <c:pt idx="358">
                  <c:v>11326.571428571429</c:v>
                </c:pt>
                <c:pt idx="359">
                  <c:v>11309.428571428571</c:v>
                </c:pt>
                <c:pt idx="360">
                  <c:v>11346.285714285714</c:v>
                </c:pt>
                <c:pt idx="361">
                  <c:v>11314.714285714286</c:v>
                </c:pt>
                <c:pt idx="362">
                  <c:v>11294.714285714286</c:v>
                </c:pt>
                <c:pt idx="363">
                  <c:v>11293</c:v>
                </c:pt>
                <c:pt idx="364">
                  <c:v>11277.142857142857</c:v>
                </c:pt>
                <c:pt idx="365">
                  <c:v>11050</c:v>
                </c:pt>
                <c:pt idx="366">
                  <c:v>10933.428571428571</c:v>
                </c:pt>
                <c:pt idx="367">
                  <c:v>10744.428571428571</c:v>
                </c:pt>
                <c:pt idx="368">
                  <c:v>10465.857142857143</c:v>
                </c:pt>
                <c:pt idx="369">
                  <c:v>10244.428571428571</c:v>
                </c:pt>
                <c:pt idx="370">
                  <c:v>10148</c:v>
                </c:pt>
                <c:pt idx="371">
                  <c:v>10135.142857142857</c:v>
                </c:pt>
                <c:pt idx="372">
                  <c:v>9026.4285714285706</c:v>
                </c:pt>
                <c:pt idx="373">
                  <c:v>9026.4285714285706</c:v>
                </c:pt>
                <c:pt idx="374">
                  <c:v>8793.1428571428569</c:v>
                </c:pt>
                <c:pt idx="375">
                  <c:v>8733.8571428571431</c:v>
                </c:pt>
                <c:pt idx="376">
                  <c:v>8669</c:v>
                </c:pt>
                <c:pt idx="377">
                  <c:v>8663.4285714285706</c:v>
                </c:pt>
                <c:pt idx="378">
                  <c:v>8647.1428571428569</c:v>
                </c:pt>
                <c:pt idx="379">
                  <c:v>9723.2857142857138</c:v>
                </c:pt>
                <c:pt idx="380">
                  <c:v>9594.4285714285706</c:v>
                </c:pt>
                <c:pt idx="381">
                  <c:v>9397.1428571428569</c:v>
                </c:pt>
                <c:pt idx="382">
                  <c:v>9229.1428571428569</c:v>
                </c:pt>
                <c:pt idx="383">
                  <c:v>9088.4285714285706</c:v>
                </c:pt>
                <c:pt idx="384">
                  <c:v>9038.5714285714294</c:v>
                </c:pt>
                <c:pt idx="385">
                  <c:v>9021.4285714285706</c:v>
                </c:pt>
                <c:pt idx="386">
                  <c:v>8797.1428571428569</c:v>
                </c:pt>
                <c:pt idx="387">
                  <c:v>8655.8571428571431</c:v>
                </c:pt>
                <c:pt idx="388">
                  <c:v>8500.7142857142862</c:v>
                </c:pt>
                <c:pt idx="389">
                  <c:v>8259.5714285714294</c:v>
                </c:pt>
                <c:pt idx="390">
                  <c:v>8019.4285714285716</c:v>
                </c:pt>
                <c:pt idx="391">
                  <c:v>8023.2857142857147</c:v>
                </c:pt>
                <c:pt idx="392">
                  <c:v>8049.7142857142853</c:v>
                </c:pt>
                <c:pt idx="393">
                  <c:v>8131.2857142857147</c:v>
                </c:pt>
                <c:pt idx="394">
                  <c:v>8329.4285714285706</c:v>
                </c:pt>
                <c:pt idx="395">
                  <c:v>8857.5714285714294</c:v>
                </c:pt>
                <c:pt idx="396">
                  <c:v>10021</c:v>
                </c:pt>
                <c:pt idx="397">
                  <c:v>12138.428571428571</c:v>
                </c:pt>
                <c:pt idx="398">
                  <c:v>12962.428571428571</c:v>
                </c:pt>
                <c:pt idx="399">
                  <c:v>13355.857142857143</c:v>
                </c:pt>
                <c:pt idx="400">
                  <c:v>18694.285714285714</c:v>
                </c:pt>
                <c:pt idx="401">
                  <c:v>24485.714285714286</c:v>
                </c:pt>
                <c:pt idx="402">
                  <c:v>29757.571428571428</c:v>
                </c:pt>
                <c:pt idx="403">
                  <c:v>34640</c:v>
                </c:pt>
                <c:pt idx="404">
                  <c:v>38731.428571428572</c:v>
                </c:pt>
                <c:pt idx="405">
                  <c:v>40472.714285714283</c:v>
                </c:pt>
                <c:pt idx="406">
                  <c:v>40984</c:v>
                </c:pt>
                <c:pt idx="407">
                  <c:v>40535.285714285717</c:v>
                </c:pt>
                <c:pt idx="408">
                  <c:v>39660.428571428572</c:v>
                </c:pt>
                <c:pt idx="409">
                  <c:v>38897.857142857145</c:v>
                </c:pt>
                <c:pt idx="410">
                  <c:v>37813</c:v>
                </c:pt>
                <c:pt idx="413">
                  <c:v>35997.285714285717</c:v>
                </c:pt>
                <c:pt idx="414">
                  <c:v>34975.857142857145</c:v>
                </c:pt>
                <c:pt idx="415">
                  <c:v>33456.571428571428</c:v>
                </c:pt>
                <c:pt idx="416">
                  <c:v>31731.285714285714</c:v>
                </c:pt>
                <c:pt idx="417">
                  <c:v>29984</c:v>
                </c:pt>
                <c:pt idx="420">
                  <c:v>26727.714285714286</c:v>
                </c:pt>
                <c:pt idx="422">
                  <c:v>23645</c:v>
                </c:pt>
                <c:pt idx="423">
                  <c:v>22080.714285714286</c:v>
                </c:pt>
                <c:pt idx="424">
                  <c:v>19139.428571428572</c:v>
                </c:pt>
                <c:pt idx="427">
                  <c:v>16762.571428571428</c:v>
                </c:pt>
                <c:pt idx="433">
                  <c:v>11000.571428571429</c:v>
                </c:pt>
                <c:pt idx="440">
                  <c:v>7873.8571428571431</c:v>
                </c:pt>
                <c:pt idx="447">
                  <c:v>5862.8571428571431</c:v>
                </c:pt>
                <c:pt idx="454">
                  <c:v>4967.7142857142853</c:v>
                </c:pt>
                <c:pt idx="464">
                  <c:v>3968.2857142857142</c:v>
                </c:pt>
                <c:pt idx="471">
                  <c:v>3595.2857142857142</c:v>
                </c:pt>
                <c:pt idx="478">
                  <c:v>2623.7142857142858</c:v>
                </c:pt>
                <c:pt idx="485">
                  <c:v>4393.5714285714284</c:v>
                </c:pt>
                <c:pt idx="492">
                  <c:v>3456.2857142857142</c:v>
                </c:pt>
                <c:pt idx="499">
                  <c:v>3661.5714285714284</c:v>
                </c:pt>
                <c:pt idx="506">
                  <c:v>3285.2857142857142</c:v>
                </c:pt>
                <c:pt idx="513">
                  <c:v>3330.2857142857142</c:v>
                </c:pt>
                <c:pt idx="520">
                  <c:v>5491.1428571428569</c:v>
                </c:pt>
                <c:pt idx="527">
                  <c:v>9261.7142857142862</c:v>
                </c:pt>
                <c:pt idx="535">
                  <c:v>6753.8571428571431</c:v>
                </c:pt>
                <c:pt idx="542">
                  <c:v>4887.2857142857147</c:v>
                </c:pt>
                <c:pt idx="548">
                  <c:v>4230.1428571428569</c:v>
                </c:pt>
                <c:pt idx="555">
                  <c:v>4284.5714285714284</c:v>
                </c:pt>
                <c:pt idx="562">
                  <c:v>2370.7142857142858</c:v>
                </c:pt>
                <c:pt idx="576">
                  <c:v>2303.5714285714284</c:v>
                </c:pt>
                <c:pt idx="583">
                  <c:v>2784.5714285714284</c:v>
                </c:pt>
                <c:pt idx="590">
                  <c:v>2304.2857142857142</c:v>
                </c:pt>
                <c:pt idx="597">
                  <c:v>1970.4285714285713</c:v>
                </c:pt>
                <c:pt idx="604">
                  <c:v>1491.8571428571429</c:v>
                </c:pt>
                <c:pt idx="611">
                  <c:v>1636.2857142857142</c:v>
                </c:pt>
                <c:pt idx="618">
                  <c:v>2577.1428571428573</c:v>
                </c:pt>
                <c:pt idx="625">
                  <c:v>8486.8571428571431</c:v>
                </c:pt>
                <c:pt idx="632">
                  <c:v>9555.4285714285706</c:v>
                </c:pt>
                <c:pt idx="639">
                  <c:v>8239.4285714285706</c:v>
                </c:pt>
                <c:pt idx="646">
                  <c:v>9321.7142857142862</c:v>
                </c:pt>
                <c:pt idx="653">
                  <c:v>10685.428571428571</c:v>
                </c:pt>
                <c:pt idx="660">
                  <c:v>7125.1428571428569</c:v>
                </c:pt>
                <c:pt idx="667">
                  <c:v>15547.142857142857</c:v>
                </c:pt>
                <c:pt idx="674">
                  <c:v>16431.285714285714</c:v>
                </c:pt>
                <c:pt idx="681">
                  <c:v>15156.857142857143</c:v>
                </c:pt>
                <c:pt idx="688">
                  <c:v>19312.142857142859</c:v>
                </c:pt>
                <c:pt idx="695">
                  <c:v>7962.4285714285716</c:v>
                </c:pt>
                <c:pt idx="702">
                  <c:v>12052.285714285714</c:v>
                </c:pt>
                <c:pt idx="709">
                  <c:v>15232.285714285714</c:v>
                </c:pt>
                <c:pt idx="716">
                  <c:v>12590.142857142857</c:v>
                </c:pt>
                <c:pt idx="723">
                  <c:v>11255</c:v>
                </c:pt>
                <c:pt idx="737">
                  <c:v>10800.357142857143</c:v>
                </c:pt>
                <c:pt idx="744">
                  <c:v>8858.8571428571431</c:v>
                </c:pt>
                <c:pt idx="758">
                  <c:v>6480.5714285714284</c:v>
                </c:pt>
                <c:pt idx="774">
                  <c:v>4308.125</c:v>
                </c:pt>
                <c:pt idx="927">
                  <c:v>17390</c:v>
                </c:pt>
                <c:pt idx="940">
                  <c:v>4770.7692307692305</c:v>
                </c:pt>
                <c:pt idx="948">
                  <c:v>6376.25</c:v>
                </c:pt>
                <c:pt idx="989">
                  <c:v>2747.1428571428573</c:v>
                </c:pt>
                <c:pt idx="996">
                  <c:v>2537.1428571428573</c:v>
                </c:pt>
                <c:pt idx="1003">
                  <c:v>2221.4285714285716</c:v>
                </c:pt>
                <c:pt idx="1010">
                  <c:v>2370</c:v>
                </c:pt>
                <c:pt idx="1017">
                  <c:v>2405.7142857142858</c:v>
                </c:pt>
                <c:pt idx="1024">
                  <c:v>2630</c:v>
                </c:pt>
                <c:pt idx="1039">
                  <c:v>3093.3333333333335</c:v>
                </c:pt>
                <c:pt idx="1045">
                  <c:v>4043.3333333333335</c:v>
                </c:pt>
                <c:pt idx="1052">
                  <c:v>4662.8571428571431</c:v>
                </c:pt>
                <c:pt idx="1059">
                  <c:v>4294.2857142857147</c:v>
                </c:pt>
                <c:pt idx="1066">
                  <c:v>5460</c:v>
                </c:pt>
                <c:pt idx="1073">
                  <c:v>4370</c:v>
                </c:pt>
                <c:pt idx="1080">
                  <c:v>7357.1428571428569</c:v>
                </c:pt>
                <c:pt idx="1088">
                  <c:v>6905</c:v>
                </c:pt>
                <c:pt idx="1094">
                  <c:v>6286.666666666667</c:v>
                </c:pt>
                <c:pt idx="1131">
                  <c:v>4691.8918918918916</c:v>
                </c:pt>
                <c:pt idx="1172">
                  <c:v>2419.5121951219512</c:v>
                </c:pt>
                <c:pt idx="1187">
                  <c:v>1601.6666666666667</c:v>
                </c:pt>
                <c:pt idx="1215">
                  <c:v>1171.2857142857142</c:v>
                </c:pt>
                <c:pt idx="1249">
                  <c:v>1082.6764705882354</c:v>
                </c:pt>
                <c:pt idx="1277">
                  <c:v>1164.2857142857142</c:v>
                </c:pt>
                <c:pt idx="1316">
                  <c:v>2280.7631578947367</c:v>
                </c:pt>
                <c:pt idx="1341">
                  <c:v>3285.68</c:v>
                </c:pt>
                <c:pt idx="1368">
                  <c:v>775.2</c:v>
                </c:pt>
                <c:pt idx="1401">
                  <c:v>3975.4848484848485</c:v>
                </c:pt>
                <c:pt idx="1430">
                  <c:v>4712.6896551724139</c:v>
                </c:pt>
                <c:pt idx="1458">
                  <c:v>6962.9642857142853</c:v>
                </c:pt>
                <c:pt idx="1492">
                  <c:v>2842.470588235294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406-4BC5-8636-D220A024A1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02491120"/>
        <c:axId val="1430200528"/>
      </c:scatterChart>
      <c:valAx>
        <c:axId val="1402491120"/>
        <c:scaling>
          <c:orientation val="minMax"/>
          <c:max val="45950"/>
          <c:min val="445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30200528"/>
        <c:crosses val="autoZero"/>
        <c:crossBetween val="midCat"/>
        <c:majorUnit val="365"/>
        <c:minorUnit val="30"/>
      </c:valAx>
      <c:valAx>
        <c:axId val="1430200528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024911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span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24317712215891"/>
          <c:y val="4.69604260345588E-2"/>
          <c:w val="0.87128375166976024"/>
          <c:h val="0.876784618078101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Haemophils influenzae type B (Hib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11</c:v>
                </c:pt>
                <c:pt idx="1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4B-1D42-8EF0-7F8AAB7D87F9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Hepatitis 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3:$C$3</c:f>
              <c:numCache>
                <c:formatCode>General</c:formatCode>
                <c:ptCount val="2"/>
                <c:pt idx="0">
                  <c:v>3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4B-1D42-8EF0-7F8AAB7D87F9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Hepatitis B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4:$C$4</c:f>
              <c:numCache>
                <c:formatCode>General</c:formatCode>
                <c:ptCount val="2"/>
                <c:pt idx="0">
                  <c:v>273</c:v>
                </c:pt>
                <c:pt idx="1">
                  <c:v>3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44B-1D42-8EF0-7F8AAB7D87F9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Hyman papillomavirus (HPV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5:$C$5</c:f>
              <c:numCache>
                <c:formatCode>General</c:formatCode>
                <c:ptCount val="2"/>
                <c:pt idx="0">
                  <c:v>1548</c:v>
                </c:pt>
                <c:pt idx="1">
                  <c:v>1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44B-1D42-8EF0-7F8AAB7D87F9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Influenza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6:$C$6</c:f>
              <c:numCache>
                <c:formatCode>General</c:formatCode>
                <c:ptCount val="2"/>
                <c:pt idx="0">
                  <c:v>610262</c:v>
                </c:pt>
                <c:pt idx="1">
                  <c:v>7925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44B-1D42-8EF0-7F8AAB7D87F9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Measl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7:$C$7</c:f>
              <c:numCache>
                <c:formatCode>General</c:formatCode>
                <c:ptCount val="2"/>
                <c:pt idx="0">
                  <c:v>499</c:v>
                </c:pt>
                <c:pt idx="1">
                  <c:v>25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44B-1D42-8EF0-7F8AAB7D87F9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Meningococcal ACWY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8:$C$8</c:f>
              <c:numCache>
                <c:formatCode>General</c:formatCode>
                <c:ptCount val="2"/>
                <c:pt idx="0">
                  <c:v>938</c:v>
                </c:pt>
                <c:pt idx="1">
                  <c:v>13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44B-1D42-8EF0-7F8AAB7D87F9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Meningococcal B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9:$C$9</c:f>
              <c:numCache>
                <c:formatCode>General</c:formatCode>
                <c:ptCount val="2"/>
                <c:pt idx="0">
                  <c:v>259</c:v>
                </c:pt>
                <c:pt idx="1">
                  <c:v>4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A44B-1D42-8EF0-7F8AAB7D87F9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Menincococcal C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10:$C$10</c:f>
              <c:numCache>
                <c:formatCode>General</c:formatCode>
                <c:ptCount val="2"/>
                <c:pt idx="0">
                  <c:v>8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A44B-1D42-8EF0-7F8AAB7D87F9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Pertussis (whopping cough)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11:$C$11</c:f>
              <c:numCache>
                <c:formatCode>General</c:formatCode>
                <c:ptCount val="2"/>
                <c:pt idx="0">
                  <c:v>26323</c:v>
                </c:pt>
                <c:pt idx="1">
                  <c:v>249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44B-1D42-8EF0-7F8AAB7D87F9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  <c:pt idx="0">
                  <c:v>Pneumoccocal disease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12:$C$12</c:f>
              <c:numCache>
                <c:formatCode>General</c:formatCode>
                <c:ptCount val="2"/>
                <c:pt idx="0">
                  <c:v>9868</c:v>
                </c:pt>
                <c:pt idx="1">
                  <c:v>18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A44B-1D42-8EF0-7F8AAB7D87F9}"/>
            </c:ext>
          </c:extLst>
        </c:ser>
        <c:ser>
          <c:idx val="11"/>
          <c:order val="11"/>
          <c:tx>
            <c:strRef>
              <c:f>Sheet1!$A$13</c:f>
              <c:strCache>
                <c:ptCount val="1"/>
                <c:pt idx="0">
                  <c:v>Poliomyelits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13:$C$13</c:f>
              <c:numCache>
                <c:formatCode>General</c:formatCode>
                <c:ptCount val="2"/>
                <c:pt idx="0">
                  <c:v>60</c:v>
                </c:pt>
                <c:pt idx="1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A44B-1D42-8EF0-7F8AAB7D87F9}"/>
            </c:ext>
          </c:extLst>
        </c:ser>
        <c:ser>
          <c:idx val="12"/>
          <c:order val="12"/>
          <c:tx>
            <c:strRef>
              <c:f>Sheet1!$A$14</c:f>
              <c:strCache>
                <c:ptCount val="1"/>
                <c:pt idx="0">
                  <c:v>Rotavirus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14:$C$14</c:f>
              <c:numCache>
                <c:formatCode>General</c:formatCode>
                <c:ptCount val="2"/>
                <c:pt idx="0">
                  <c:v>3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A44B-1D42-8EF0-7F8AAB7D87F9}"/>
            </c:ext>
          </c:extLst>
        </c:ser>
        <c:ser>
          <c:idx val="13"/>
          <c:order val="13"/>
          <c:tx>
            <c:strRef>
              <c:f>Sheet1!$A$15</c:f>
              <c:strCache>
                <c:ptCount val="1"/>
                <c:pt idx="0">
                  <c:v>RSV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15:$C$15</c:f>
              <c:numCache>
                <c:formatCode>General</c:formatCode>
                <c:ptCount val="2"/>
                <c:pt idx="0">
                  <c:v>0</c:v>
                </c:pt>
                <c:pt idx="1">
                  <c:v>18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A44B-1D42-8EF0-7F8AAB7D87F9}"/>
            </c:ext>
          </c:extLst>
        </c:ser>
        <c:ser>
          <c:idx val="14"/>
          <c:order val="14"/>
          <c:tx>
            <c:strRef>
              <c:f>Sheet1!$A$16</c:f>
              <c:strCache>
                <c:ptCount val="1"/>
                <c:pt idx="0">
                  <c:v>Varicella (chickenpox)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16:$C$16</c:f>
              <c:numCache>
                <c:formatCode>General</c:formatCode>
                <c:ptCount val="2"/>
                <c:pt idx="0">
                  <c:v>105</c:v>
                </c:pt>
                <c:pt idx="1">
                  <c:v>1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A44B-1D42-8EF0-7F8AAB7D87F9}"/>
            </c:ext>
          </c:extLst>
        </c:ser>
        <c:ser>
          <c:idx val="15"/>
          <c:order val="15"/>
          <c:tx>
            <c:strRef>
              <c:f>Sheet1!$A$17</c:f>
              <c:strCache>
                <c:ptCount val="1"/>
                <c:pt idx="0">
                  <c:v>Zoster (herpes zoster)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17:$C$17</c:f>
              <c:numCache>
                <c:formatCode>General</c:formatCode>
                <c:ptCount val="2"/>
                <c:pt idx="0">
                  <c:v>235985</c:v>
                </c:pt>
                <c:pt idx="1">
                  <c:v>1380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A44B-1D42-8EF0-7F8AAB7D8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35572015"/>
        <c:axId val="630829375"/>
      </c:barChart>
      <c:catAx>
        <c:axId val="635572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30829375"/>
        <c:crosses val="autoZero"/>
        <c:auto val="1"/>
        <c:lblAlgn val="ctr"/>
        <c:lblOffset val="100"/>
        <c:noMultiLvlLbl val="0"/>
      </c:catAx>
      <c:valAx>
        <c:axId val="63082937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355720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24317712215891"/>
          <c:y val="4.69604260345588E-2"/>
          <c:w val="0.87128375166976024"/>
          <c:h val="0.876784618078101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Haemophils influenzae type B (Hib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1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A7-495D-B2CA-4FA7D11DA3F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Hepatitis 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3:$C$3</c:f>
              <c:numCache>
                <c:formatCode>General</c:formatCode>
                <c:ptCount val="2"/>
                <c:pt idx="0">
                  <c:v>3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8A7-495D-B2CA-4FA7D11DA3F8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Hepatitis B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4:$C$4</c:f>
              <c:numCache>
                <c:formatCode>General</c:formatCode>
                <c:ptCount val="2"/>
                <c:pt idx="1">
                  <c:v>3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8A7-495D-B2CA-4FA7D11DA3F8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Hyman papillomavirus (HPV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5:$C$5</c:f>
              <c:numCache>
                <c:formatCode>General</c:formatCode>
                <c:ptCount val="2"/>
                <c:pt idx="1">
                  <c:v>1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8A7-495D-B2CA-4FA7D11DA3F8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Influenza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6:$C$6</c:f>
              <c:numCache>
                <c:formatCode>General</c:formatCode>
                <c:ptCount val="2"/>
                <c:pt idx="1">
                  <c:v>7925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8A7-495D-B2CA-4FA7D11DA3F8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Measl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7:$C$7</c:f>
              <c:numCache>
                <c:formatCode>General</c:formatCode>
                <c:ptCount val="2"/>
                <c:pt idx="1">
                  <c:v>25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8A7-495D-B2CA-4FA7D11DA3F8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Meningococcal ACWY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8:$C$8</c:f>
              <c:numCache>
                <c:formatCode>General</c:formatCode>
                <c:ptCount val="2"/>
                <c:pt idx="1">
                  <c:v>13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8A7-495D-B2CA-4FA7D11DA3F8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Meningococcal B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9:$C$9</c:f>
              <c:numCache>
                <c:formatCode>General</c:formatCode>
                <c:ptCount val="2"/>
                <c:pt idx="1">
                  <c:v>4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8A7-495D-B2CA-4FA7D11DA3F8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Menincococcal C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10:$C$10</c:f>
              <c:numCache>
                <c:formatCode>General</c:formatCode>
                <c:ptCount val="2"/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8A7-495D-B2CA-4FA7D11DA3F8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Pertussis (whopping cough)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11:$C$11</c:f>
              <c:numCache>
                <c:formatCode>General</c:formatCode>
                <c:ptCount val="2"/>
                <c:pt idx="1">
                  <c:v>249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08A7-495D-B2CA-4FA7D11DA3F8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  <c:pt idx="0">
                  <c:v>Pneumoccocal disease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12:$C$12</c:f>
              <c:numCache>
                <c:formatCode>General</c:formatCode>
                <c:ptCount val="2"/>
                <c:pt idx="1">
                  <c:v>18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8A7-495D-B2CA-4FA7D11DA3F8}"/>
            </c:ext>
          </c:extLst>
        </c:ser>
        <c:ser>
          <c:idx val="11"/>
          <c:order val="11"/>
          <c:tx>
            <c:strRef>
              <c:f>Sheet1!$A$13</c:f>
              <c:strCache>
                <c:ptCount val="1"/>
                <c:pt idx="0">
                  <c:v>Poliomyelits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13:$C$13</c:f>
              <c:numCache>
                <c:formatCode>General</c:formatCode>
                <c:ptCount val="2"/>
                <c:pt idx="1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8A7-495D-B2CA-4FA7D11DA3F8}"/>
            </c:ext>
          </c:extLst>
        </c:ser>
        <c:ser>
          <c:idx val="12"/>
          <c:order val="12"/>
          <c:tx>
            <c:strRef>
              <c:f>Sheet1!$A$14</c:f>
              <c:strCache>
                <c:ptCount val="1"/>
                <c:pt idx="0">
                  <c:v>Rotavirus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14:$C$14</c:f>
              <c:numCache>
                <c:formatCode>General</c:formatCode>
                <c:ptCount val="2"/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8A7-495D-B2CA-4FA7D11DA3F8}"/>
            </c:ext>
          </c:extLst>
        </c:ser>
        <c:ser>
          <c:idx val="13"/>
          <c:order val="13"/>
          <c:tx>
            <c:strRef>
              <c:f>Sheet1!$A$15</c:f>
              <c:strCache>
                <c:ptCount val="1"/>
                <c:pt idx="0">
                  <c:v>RSV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15:$C$15</c:f>
              <c:numCache>
                <c:formatCode>General</c:formatCode>
                <c:ptCount val="2"/>
                <c:pt idx="1">
                  <c:v>18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08A7-495D-B2CA-4FA7D11DA3F8}"/>
            </c:ext>
          </c:extLst>
        </c:ser>
        <c:ser>
          <c:idx val="14"/>
          <c:order val="14"/>
          <c:tx>
            <c:strRef>
              <c:f>Sheet1!$A$16</c:f>
              <c:strCache>
                <c:ptCount val="1"/>
                <c:pt idx="0">
                  <c:v>Varicella (chickenpox)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16:$C$16</c:f>
              <c:numCache>
                <c:formatCode>General</c:formatCode>
                <c:ptCount val="2"/>
                <c:pt idx="1">
                  <c:v>1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8A7-495D-B2CA-4FA7D11DA3F8}"/>
            </c:ext>
          </c:extLst>
        </c:ser>
        <c:ser>
          <c:idx val="15"/>
          <c:order val="15"/>
          <c:tx>
            <c:strRef>
              <c:f>Sheet1!$A$17</c:f>
              <c:strCache>
                <c:ptCount val="1"/>
                <c:pt idx="0">
                  <c:v>Zoster (herpes zoster)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2"/>
                <c:pt idx="0">
                  <c:v>2024</c:v>
                </c:pt>
                <c:pt idx="1">
                  <c:v>2025 YTD</c:v>
                </c:pt>
              </c:strCache>
            </c:strRef>
          </c:cat>
          <c:val>
            <c:numRef>
              <c:f>Sheet1!$B$17:$C$17</c:f>
              <c:numCache>
                <c:formatCode>General</c:formatCode>
                <c:ptCount val="2"/>
                <c:pt idx="1">
                  <c:v>1380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08A7-495D-B2CA-4FA7D11DA3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35572015"/>
        <c:axId val="630829375"/>
      </c:barChart>
      <c:catAx>
        <c:axId val="635572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30829375"/>
        <c:crosses val="autoZero"/>
        <c:auto val="1"/>
        <c:lblAlgn val="ctr"/>
        <c:lblOffset val="100"/>
        <c:noMultiLvlLbl val="0"/>
      </c:catAx>
      <c:valAx>
        <c:axId val="63082937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355720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2981046301868"/>
          <c:y val="4.3481464781262698E-2"/>
          <c:w val="0.87128375166976024"/>
          <c:h val="0.876784618078101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Haemophils influenzae type B (Hib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1"/>
                <c:pt idx="0">
                  <c:v>2025 YTD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85-4B4B-990D-1783620F34DA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Hepatitis 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1"/>
                <c:pt idx="0">
                  <c:v>2025 YTD</c:v>
                </c:pt>
              </c:strCache>
            </c:strRef>
          </c:cat>
          <c:val>
            <c:numRef>
              <c:f>Sheet1!$B$3:$C$3</c:f>
              <c:numCache>
                <c:formatCode>General</c:formatCode>
                <c:ptCount val="2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E85-4B4B-990D-1783620F34DA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Hepatitis B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1"/>
                <c:pt idx="0">
                  <c:v>2025 YTD</c:v>
                </c:pt>
              </c:strCache>
            </c:strRef>
          </c:cat>
          <c:val>
            <c:numRef>
              <c:f>Sheet1!$B$4:$C$4</c:f>
              <c:numCache>
                <c:formatCode>General</c:formatCode>
                <c:ptCount val="2"/>
                <c:pt idx="0">
                  <c:v>3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E85-4B4B-990D-1783620F34DA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Hyman papillomavirus (HPV)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1"/>
                <c:pt idx="0">
                  <c:v>2025 YTD</c:v>
                </c:pt>
              </c:strCache>
            </c:strRef>
          </c:cat>
          <c:val>
            <c:numRef>
              <c:f>Sheet1!$B$5:$C$5</c:f>
              <c:numCache>
                <c:formatCode>General</c:formatCode>
                <c:ptCount val="2"/>
                <c:pt idx="0">
                  <c:v>1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E85-4B4B-990D-1783620F34DA}"/>
            </c:ext>
          </c:extLst>
        </c:ser>
        <c:ser>
          <c:idx val="5"/>
          <c:order val="4"/>
          <c:tx>
            <c:strRef>
              <c:f>Sheet1!$A$7</c:f>
              <c:strCache>
                <c:ptCount val="1"/>
                <c:pt idx="0">
                  <c:v>Measles</c:v>
                </c:pt>
              </c:strCache>
            </c:strRef>
          </c:tx>
          <c:spPr>
            <a:solidFill>
              <a:srgbClr val="FF2F92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1"/>
                <c:pt idx="0">
                  <c:v>2025 YTD</c:v>
                </c:pt>
              </c:strCache>
            </c:strRef>
          </c:cat>
          <c:val>
            <c:numRef>
              <c:f>Sheet1!$B$7:$C$7</c:f>
              <c:numCache>
                <c:formatCode>General</c:formatCode>
                <c:ptCount val="2"/>
                <c:pt idx="0">
                  <c:v>25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E85-4B4B-990D-1783620F34DA}"/>
            </c:ext>
          </c:extLst>
        </c:ser>
        <c:ser>
          <c:idx val="6"/>
          <c:order val="5"/>
          <c:tx>
            <c:strRef>
              <c:f>Sheet1!$A$8</c:f>
              <c:strCache>
                <c:ptCount val="1"/>
                <c:pt idx="0">
                  <c:v>Meningococcal ACWY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1"/>
                <c:pt idx="0">
                  <c:v>2025 YTD</c:v>
                </c:pt>
              </c:strCache>
            </c:strRef>
          </c:cat>
          <c:val>
            <c:numRef>
              <c:f>Sheet1!$B$8:$C$8</c:f>
              <c:numCache>
                <c:formatCode>General</c:formatCode>
                <c:ptCount val="2"/>
                <c:pt idx="0">
                  <c:v>13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E85-4B4B-990D-1783620F34DA}"/>
            </c:ext>
          </c:extLst>
        </c:ser>
        <c:ser>
          <c:idx val="7"/>
          <c:order val="6"/>
          <c:tx>
            <c:strRef>
              <c:f>Sheet1!$A$9</c:f>
              <c:strCache>
                <c:ptCount val="1"/>
                <c:pt idx="0">
                  <c:v>Meningococcal B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1"/>
                <c:pt idx="0">
                  <c:v>2025 YTD</c:v>
                </c:pt>
              </c:strCache>
            </c:strRef>
          </c:cat>
          <c:val>
            <c:numRef>
              <c:f>Sheet1!$B$9:$C$9</c:f>
              <c:numCache>
                <c:formatCode>General</c:formatCode>
                <c:ptCount val="2"/>
                <c:pt idx="0">
                  <c:v>4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E85-4B4B-990D-1783620F34DA}"/>
            </c:ext>
          </c:extLst>
        </c:ser>
        <c:ser>
          <c:idx val="8"/>
          <c:order val="7"/>
          <c:tx>
            <c:strRef>
              <c:f>Sheet1!$A$10</c:f>
              <c:strCache>
                <c:ptCount val="1"/>
                <c:pt idx="0">
                  <c:v>Menincococcal C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1"/>
                <c:pt idx="0">
                  <c:v>2025 YTD</c:v>
                </c:pt>
              </c:strCache>
            </c:strRef>
          </c:cat>
          <c:val>
            <c:numRef>
              <c:f>Sheet1!$B$10:$C$10</c:f>
              <c:numCache>
                <c:formatCode>General</c:formatCode>
                <c:ptCount val="2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E85-4B4B-990D-1783620F34DA}"/>
            </c:ext>
          </c:extLst>
        </c:ser>
        <c:ser>
          <c:idx val="9"/>
          <c:order val="8"/>
          <c:tx>
            <c:strRef>
              <c:f>Sheet1!$A$11</c:f>
              <c:strCache>
                <c:ptCount val="1"/>
                <c:pt idx="0">
                  <c:v>Pertussis (whopping cough)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1"/>
                <c:pt idx="0">
                  <c:v>2025 YTD</c:v>
                </c:pt>
              </c:strCache>
            </c:strRef>
          </c:cat>
          <c:val>
            <c:numRef>
              <c:f>Sheet1!$B$11:$C$11</c:f>
              <c:numCache>
                <c:formatCode>General</c:formatCode>
                <c:ptCount val="2"/>
                <c:pt idx="0">
                  <c:v>249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E85-4B4B-990D-1783620F34DA}"/>
            </c:ext>
          </c:extLst>
        </c:ser>
        <c:ser>
          <c:idx val="10"/>
          <c:order val="9"/>
          <c:tx>
            <c:strRef>
              <c:f>Sheet1!$A$12</c:f>
              <c:strCache>
                <c:ptCount val="1"/>
                <c:pt idx="0">
                  <c:v>Pneumoccocal disease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1"/>
                <c:pt idx="0">
                  <c:v>2025 YTD</c:v>
                </c:pt>
              </c:strCache>
            </c:strRef>
          </c:cat>
          <c:val>
            <c:numRef>
              <c:f>Sheet1!$B$12:$C$12</c:f>
              <c:numCache>
                <c:formatCode>General</c:formatCode>
                <c:ptCount val="2"/>
                <c:pt idx="0">
                  <c:v>18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E85-4B4B-990D-1783620F34DA}"/>
            </c:ext>
          </c:extLst>
        </c:ser>
        <c:ser>
          <c:idx val="11"/>
          <c:order val="10"/>
          <c:tx>
            <c:strRef>
              <c:f>Sheet1!$A$13</c:f>
              <c:strCache>
                <c:ptCount val="1"/>
                <c:pt idx="0">
                  <c:v>Poliomyelits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1"/>
                <c:pt idx="0">
                  <c:v>2025 YTD</c:v>
                </c:pt>
              </c:strCache>
            </c:strRef>
          </c:cat>
          <c:val>
            <c:numRef>
              <c:f>Sheet1!$B$13:$C$13</c:f>
              <c:numCache>
                <c:formatCode>General</c:formatCode>
                <c:ptCount val="2"/>
                <c:pt idx="0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E85-4B4B-990D-1783620F34DA}"/>
            </c:ext>
          </c:extLst>
        </c:ser>
        <c:ser>
          <c:idx val="12"/>
          <c:order val="11"/>
          <c:tx>
            <c:strRef>
              <c:f>Sheet1!$A$14</c:f>
              <c:strCache>
                <c:ptCount val="1"/>
                <c:pt idx="0">
                  <c:v>Rotavirus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1"/>
                <c:pt idx="0">
                  <c:v>2025 YTD</c:v>
                </c:pt>
              </c:strCache>
            </c:strRef>
          </c:cat>
          <c:val>
            <c:numRef>
              <c:f>Sheet1!$B$14:$C$14</c:f>
              <c:numCache>
                <c:formatCode>General</c:formatCode>
                <c:ptCount val="2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E85-4B4B-990D-1783620F34DA}"/>
            </c:ext>
          </c:extLst>
        </c:ser>
        <c:ser>
          <c:idx val="13"/>
          <c:order val="12"/>
          <c:tx>
            <c:strRef>
              <c:f>Sheet1!$A$15</c:f>
              <c:strCache>
                <c:ptCount val="1"/>
                <c:pt idx="0">
                  <c:v>RSV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1"/>
                <c:pt idx="0">
                  <c:v>2025 YTD</c:v>
                </c:pt>
              </c:strCache>
            </c:strRef>
          </c:cat>
          <c:val>
            <c:numRef>
              <c:f>Sheet1!$B$15:$C$15</c:f>
              <c:numCache>
                <c:formatCode>General</c:formatCode>
                <c:ptCount val="2"/>
                <c:pt idx="0">
                  <c:v>182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EE85-4B4B-990D-1783620F34DA}"/>
            </c:ext>
          </c:extLst>
        </c:ser>
        <c:ser>
          <c:idx val="14"/>
          <c:order val="13"/>
          <c:tx>
            <c:strRef>
              <c:f>Sheet1!$A$16</c:f>
              <c:strCache>
                <c:ptCount val="1"/>
                <c:pt idx="0">
                  <c:v>Varicella (chickenpox)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C$1</c:f>
              <c:strCache>
                <c:ptCount val="1"/>
                <c:pt idx="0">
                  <c:v>2025 YTD</c:v>
                </c:pt>
              </c:strCache>
            </c:strRef>
          </c:cat>
          <c:val>
            <c:numRef>
              <c:f>Sheet1!$B$16:$C$16</c:f>
              <c:numCache>
                <c:formatCode>General</c:formatCode>
                <c:ptCount val="2"/>
                <c:pt idx="0">
                  <c:v>1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E85-4B4B-990D-1783620F34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35572015"/>
        <c:axId val="630829375"/>
      </c:barChart>
      <c:catAx>
        <c:axId val="635572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30829375"/>
        <c:crosses val="autoZero"/>
        <c:auto val="1"/>
        <c:lblAlgn val="ctr"/>
        <c:lblOffset val="100"/>
        <c:noMultiLvlLbl val="0"/>
      </c:catAx>
      <c:valAx>
        <c:axId val="630829375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355720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A5C764-336C-5442-AF55-0EA59C2E6B91}" type="datetimeFigureOut">
              <a:rPr lang="en-US" smtClean="0"/>
              <a:t>11/1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4D67BC-9DF9-9B44-B587-3791431F88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8457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ustralianpharmacist.com.au/celebrating-a-decade-of-pharmacist-vaccination/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4D67BC-9DF9-9B44-B587-3791431F881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37732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041CC0-5844-8F6B-012B-3559F20E29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6D96DD-CD0C-4792-21E4-41ABC42BB8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CAB8E88-83BB-36CC-ADAE-CED8D71280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409D07-605F-ECDE-8619-571759A107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4D67BC-9DF9-9B44-B587-3791431F881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8753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4D67BC-9DF9-9B44-B587-3791431F881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53829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4D67BC-9DF9-9B44-B587-3791431F881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32432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4D67BC-9DF9-9B44-B587-3791431F881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7970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4D67BC-9DF9-9B44-B587-3791431F881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5657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6514C4-F780-93E9-7F38-97F6FCCF0D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FBEAF6-531B-5027-72EC-356A253E7A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A93F64-102A-6F1D-3F05-AA651A2C52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683C6E-BD33-6A69-E402-5351D62897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4D67BC-9DF9-9B44-B587-3791431F881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2804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9620E3-BD4C-91D1-69FA-DEB26B5BF0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284465-AEAA-C232-FAAA-065BE20E49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254FBB8-BD2F-84DD-9CC1-5CD93B7754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5B5983-AD2F-477B-293E-8A522FC694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4D67BC-9DF9-9B44-B587-3791431F881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53250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B6A721-6FC9-D649-83BC-6003491BB2BB}" type="slidenum">
              <a:rPr lang="en-AU" smtClean="0"/>
              <a:t>1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559471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B6A721-6FC9-D649-83BC-6003491BB2BB}" type="slidenum">
              <a:rPr lang="en-AU" smtClean="0"/>
              <a:t>1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403048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3C5E7E-29CF-40E4-BB23-318B219DF7CE}" type="slidenum">
              <a:rPr lang="en-AU" smtClean="0"/>
              <a:t>2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394179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220788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2075" indent="0"/>
            <a:endParaRPr lang="en-US" dirty="0"/>
          </a:p>
          <a:p>
            <a:pPr marL="92075" indent="0"/>
            <a:endParaRPr lang="en-US" dirty="0"/>
          </a:p>
          <a:p>
            <a:pPr marL="92075" indent="0"/>
            <a:r>
              <a:rPr lang="en-AU" dirty="0">
                <a:hlinkClick r:id="rId3"/>
              </a:rPr>
              <a:t>Celebrating a decade of pharmacist vaccination - Australian Pharmacist</a:t>
            </a:r>
            <a:endParaRPr lang="en-AU" dirty="0"/>
          </a:p>
          <a:p>
            <a:pPr marL="92075" indent="0"/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4D67BC-9DF9-9B44-B587-3791431F881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719646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CE9017-EB60-1AC6-0BF8-F5B48C0EAB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9573710-A9FC-364F-24D2-8BE2AB45FD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511110-4AD9-C91C-89B6-9503DD6216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6EA3A0-5493-371E-2692-504CAFD493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4D67BC-9DF9-9B44-B587-3791431F8819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4644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9F7D1C-5693-2360-E1ED-D8820B52DF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6DAE72-66A8-0683-C81F-99CC8467CC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86DD2C-2CCC-0B10-39C3-C84964E325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84E99C-6CC0-FE09-C145-B509A42DF4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4D67BC-9DF9-9B44-B587-3791431F8819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00756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A9B8C9-B852-B0AF-BB7E-521F3E5E2C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EE6717-16EB-6886-ED95-C4ECAB8752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1D1E0EB-C274-18E0-4F90-0151DB9495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A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933511-A9DD-9D5A-331E-394FB941D9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4D67BC-9DF9-9B44-B587-3791431F8819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650166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5C0895-96D1-2964-907E-01557A7B1F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3A11601-969A-2CD4-00D9-908FBBC95A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A57E70-8085-C4CE-26F1-A576DB092F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ok at what is due </a:t>
            </a:r>
          </a:p>
          <a:p>
            <a:r>
              <a:rPr lang="en-US" dirty="0"/>
              <a:t>Image source: ABC New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A6357C-B6D2-883B-BDEC-030BCFF8C2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4D67BC-9DF9-9B44-B587-3791431F881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68758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4D67BC-9DF9-9B44-B587-3791431F8819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4138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D59A15-FFE4-1F08-CC53-DF05E00FD0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CF6D71-42FA-E874-99B6-30263CF7F2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D0C1E9-A310-AAF9-44E1-97CB8A5550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Dramatic expansion in recent years. </a:t>
            </a:r>
          </a:p>
          <a:p>
            <a:endParaRPr lang="en-AU" dirty="0"/>
          </a:p>
          <a:p>
            <a:r>
              <a:rPr lang="en-AU" dirty="0"/>
              <a:t>Doesn’t contain all vaccines – missing Yellow Fever, TB, Q Fever et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CB7625-13DC-6111-FF82-E940D2C7EC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574">
              <a:defRPr/>
            </a:pPr>
            <a:fld id="{601D56B7-FB4B-489B-9F4B-A2AF2EC2D6B8}" type="slidenum">
              <a:rPr lang="en-AU">
                <a:solidFill>
                  <a:prstClr val="black"/>
                </a:solidFill>
                <a:latin typeface="Calibri" charset="0"/>
                <a:ea typeface="ＭＳ Ｐゴシック" charset="0"/>
              </a:rPr>
              <a:pPr defTabSz="990574">
                <a:defRPr/>
              </a:pPr>
              <a:t>3</a:t>
            </a:fld>
            <a:endParaRPr lang="en-AU">
              <a:solidFill>
                <a:prstClr val="black"/>
              </a:solidFill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81402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09E08B-6643-EB7F-CE44-C18098EE71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2C8A06-8EDC-39D4-87E3-DD93DB7C5E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EC0E31A-B544-2C5E-24B8-8459E80B28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5341A8-B5FC-EA3D-66D7-AE58BC72719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574">
              <a:defRPr/>
            </a:pPr>
            <a:fld id="{601D56B7-FB4B-489B-9F4B-A2AF2EC2D6B8}" type="slidenum">
              <a:rPr lang="en-AU">
                <a:solidFill>
                  <a:prstClr val="black"/>
                </a:solidFill>
                <a:latin typeface="Calibri" charset="0"/>
                <a:ea typeface="ＭＳ Ｐゴシック" charset="0"/>
              </a:rPr>
              <a:pPr defTabSz="990574">
                <a:defRPr/>
              </a:pPr>
              <a:t>4</a:t>
            </a:fld>
            <a:endParaRPr lang="en-AU">
              <a:solidFill>
                <a:prstClr val="black"/>
              </a:solidFill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38846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5935 pharmacies national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4D67BC-9DF9-9B44-B587-3791431F881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6899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88013A-724A-899D-CBA6-3786B5F5E8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D6F73E-D61D-AC5C-3CFF-FF373DA171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C6D4797-C09F-A602-D9F7-93A7BC9532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8E801D-F9B9-1327-2AEA-54BFEF8130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4D67BC-9DF9-9B44-B587-3791431F881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5721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D9FE62-01EF-B614-102E-0F28503E7E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2B42FEC-B535-5D1E-5F36-308D01F4E1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EE8F3B7-3BA5-3ABF-AECD-E18F6114CA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Lots of public health campaig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F598D1-9899-6D76-E168-F923A472E2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4D67BC-9DF9-9B44-B587-3791431F881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1569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59267B-A6E3-EF4B-A7D6-0A6C205EF8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0110C6-7C67-D15F-0429-1B8724DC56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CCE2F5-0D18-4BE3-17A0-9EF1166435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6EF42-7F3F-BA5D-3D0B-7C115FFE8A2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4D67BC-9DF9-9B44-B587-3791431F881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9325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4D67BC-9DF9-9B44-B587-3791431F881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934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4"/>
          <p:cNvSpPr>
            <a:spLocks noGrp="1"/>
          </p:cNvSpPr>
          <p:nvPr>
            <p:ph idx="1" hasCustomPrompt="1"/>
          </p:nvPr>
        </p:nvSpPr>
        <p:spPr>
          <a:xfrm>
            <a:off x="551033" y="1244773"/>
            <a:ext cx="8238503" cy="32656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AU" dirty="0"/>
              <a:t>Click to add text</a:t>
            </a:r>
          </a:p>
          <a:p>
            <a:pPr lvl="1"/>
            <a:r>
              <a:rPr lang="en-AU" dirty="0"/>
              <a:t>Second level</a:t>
            </a:r>
          </a:p>
          <a:p>
            <a:pPr lvl="2"/>
            <a:r>
              <a:rPr lang="en-AU" dirty="0"/>
              <a:t>Third level</a:t>
            </a:r>
          </a:p>
          <a:p>
            <a:pPr lvl="3"/>
            <a:r>
              <a:rPr lang="en-AU" dirty="0"/>
              <a:t>Fourth level</a:t>
            </a:r>
          </a:p>
          <a:p>
            <a:pPr lvl="4"/>
            <a:r>
              <a:rPr lang="en-AU" dirty="0"/>
              <a:t>Fifth level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/>
          </p:nvPr>
        </p:nvSpPr>
        <p:spPr>
          <a:xfrm>
            <a:off x="3246120" y="160054"/>
            <a:ext cx="5711404" cy="731381"/>
          </a:xfrm>
        </p:spPr>
        <p:txBody>
          <a:bodyPr>
            <a:normAutofit/>
          </a:bodyPr>
          <a:lstStyle>
            <a:lvl1pPr algn="r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93757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48B640-52C8-6DBC-6D2F-68C164CB6D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457200" y="1722374"/>
            <a:ext cx="7818120" cy="204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3200"/>
            </a:lvl1pPr>
          </a:lstStyle>
          <a:p>
            <a:pPr lvl="0"/>
            <a:r>
              <a:rPr lang="en-AU" dirty="0"/>
              <a:t>Main Tex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5309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450228" y="145507"/>
            <a:ext cx="8204904" cy="731381"/>
          </a:xfrm>
        </p:spPr>
        <p:txBody>
          <a:bodyPr>
            <a:normAutofit/>
          </a:bodyPr>
          <a:lstStyle>
            <a:lvl1pPr algn="l">
              <a:defRPr sz="2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1"/>
          </p:nvPr>
        </p:nvSpPr>
        <p:spPr>
          <a:xfrm>
            <a:off x="450228" y="1310881"/>
            <a:ext cx="8204904" cy="3154171"/>
          </a:xfrm>
          <a:prstGeom prst="rect">
            <a:avLst/>
          </a:prstGeom>
        </p:spPr>
        <p:txBody>
          <a:bodyPr vert="horz"/>
          <a:lstStyle>
            <a:lvl1pPr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275625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89204" y="891574"/>
            <a:ext cx="8165592" cy="731381"/>
          </a:xfrm>
        </p:spPr>
        <p:txBody>
          <a:bodyPr>
            <a:normAutofit/>
          </a:bodyPr>
          <a:lstStyle>
            <a:lvl1pPr algn="ctr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0"/>
          </p:nvPr>
        </p:nvSpPr>
        <p:spPr>
          <a:xfrm>
            <a:off x="306296" y="2734056"/>
            <a:ext cx="7813576" cy="224028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446555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DB5B47-AE82-5D90-DCAD-C7583AD56244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387215" y="331470"/>
            <a:ext cx="8473563" cy="4661316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686092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5">
            <a:extLst>
              <a:ext uri="{FF2B5EF4-FFF2-40B4-BE49-F238E27FC236}">
                <a16:creationId xmlns:a16="http://schemas.microsoft.com/office/drawing/2014/main" id="{37A3E828-7A56-9AE4-3C36-D7C3065005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741" y="281974"/>
            <a:ext cx="8559002" cy="731381"/>
          </a:xfrm>
        </p:spPr>
        <p:txBody>
          <a:bodyPr>
            <a:normAutofit/>
          </a:bodyPr>
          <a:lstStyle>
            <a:lvl1pPr algn="ctr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BEC87FF-22AC-D766-6834-9F408EE8C8C6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323740" y="1210056"/>
            <a:ext cx="8559001" cy="224028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62759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4"/>
          <p:cNvSpPr>
            <a:spLocks noGrp="1"/>
          </p:cNvSpPr>
          <p:nvPr>
            <p:ph idx="1"/>
          </p:nvPr>
        </p:nvSpPr>
        <p:spPr>
          <a:xfrm>
            <a:off x="4764024" y="2706624"/>
            <a:ext cx="4233672" cy="227685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231055" y="141402"/>
            <a:ext cx="3975186" cy="2272614"/>
          </a:xfrm>
        </p:spPr>
        <p:txBody>
          <a:bodyPr>
            <a:normAutofit/>
          </a:bodyPr>
          <a:lstStyle>
            <a:lvl1pPr algn="ctr"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14">
            <a:extLst>
              <a:ext uri="{FF2B5EF4-FFF2-40B4-BE49-F238E27FC236}">
                <a16:creationId xmlns:a16="http://schemas.microsoft.com/office/drawing/2014/main" id="{0FC0843D-1A4B-B4BC-B191-A2267EBC2B1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231055" y="2729485"/>
            <a:ext cx="4233672" cy="2276856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4">
            <a:extLst>
              <a:ext uri="{FF2B5EF4-FFF2-40B4-BE49-F238E27FC236}">
                <a16:creationId xmlns:a16="http://schemas.microsoft.com/office/drawing/2014/main" id="{AB14D2B0-AFE5-36B7-8B34-F9A6671ED75E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764024" y="160020"/>
            <a:ext cx="4233672" cy="2276856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34456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898AF9-7FA3-753F-E860-B099E8380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32236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5F293A-5AD8-ED3A-EFDB-87FA0C429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3068" y="109705"/>
            <a:ext cx="4093095" cy="147802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490840-DFE1-0F54-323F-2EA755542E8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237837" y="482184"/>
            <a:ext cx="4093095" cy="4114754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576318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808401F-CE5A-F8DE-20E0-1A52DF879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818" y="392338"/>
            <a:ext cx="4093095" cy="147802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1163A86-C56C-CEA7-AFB1-2445A1DEC6F6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843088" y="677971"/>
            <a:ext cx="4093095" cy="4114754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890785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722374"/>
            <a:ext cx="7035800" cy="204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AU" dirty="0"/>
              <a:t>Main Text.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8" r:id="rId3"/>
    <p:sldLayoutId id="2147483763" r:id="rId4"/>
    <p:sldLayoutId id="2147483761" r:id="rId5"/>
    <p:sldLayoutId id="2147483760" r:id="rId6"/>
    <p:sldLayoutId id="2147483764" r:id="rId7"/>
    <p:sldLayoutId id="2147483765" r:id="rId8"/>
    <p:sldLayoutId id="2147483762" r:id="rId9"/>
    <p:sldLayoutId id="2147483751" r:id="rId10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4000" b="1" i="0" kern="1200">
          <a:solidFill>
            <a:schemeClr val="bg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+mj-lt" charset="0"/>
        <a:defRPr sz="3200" kern="1200">
          <a:solidFill>
            <a:schemeClr val="bg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www.health.gov.au/topics/immunisation/immunisation-data/human-papillomavirus-hpv-immunisation-data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www.health.gov.au/topics/immunisation/immunisation-data/human-papillomavirus-hpv-immunisation-data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2684E8-B9DC-8D65-D194-897C5C303B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587" y="814389"/>
            <a:ext cx="8486775" cy="3857624"/>
          </a:xfrm>
        </p:spPr>
        <p:txBody>
          <a:bodyPr/>
          <a:lstStyle/>
          <a:p>
            <a:br>
              <a:rPr lang="en-AU" dirty="0">
                <a:effectLst/>
                <a:latin typeface="Aptos" panose="020B0004020202020204" pitchFamily="34" charset="0"/>
                <a:ea typeface="Aptos" panose="020B0004020202020204" pitchFamily="34" charset="0"/>
                <a:cs typeface="Calibri" panose="020F0502020204030204" pitchFamily="34" charset="0"/>
              </a:rPr>
            </a:br>
            <a:br>
              <a:rPr lang="en-AU" dirty="0">
                <a:effectLst/>
                <a:latin typeface="Aptos" panose="020B0004020202020204" pitchFamily="34" charset="0"/>
                <a:ea typeface="Aptos" panose="020B0004020202020204" pitchFamily="34" charset="0"/>
                <a:cs typeface="Calibri" panose="020F0502020204030204" pitchFamily="34" charset="0"/>
              </a:rPr>
            </a:br>
            <a:br>
              <a:rPr lang="en-AU" dirty="0">
                <a:effectLst/>
                <a:latin typeface="Aptos" panose="020B0004020202020204" pitchFamily="34" charset="0"/>
                <a:ea typeface="Aptos" panose="020B0004020202020204" pitchFamily="34" charset="0"/>
                <a:cs typeface="Calibri" panose="020F0502020204030204" pitchFamily="34" charset="0"/>
              </a:rPr>
            </a:br>
            <a:r>
              <a:rPr lang="en-AU" dirty="0">
                <a:effectLst/>
                <a:latin typeface="Aptos" panose="020B000402020202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harmacists </a:t>
            </a:r>
            <a:r>
              <a:rPr lang="en-AU" dirty="0">
                <a:latin typeface="Aptos" panose="020B000402020202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b</a:t>
            </a:r>
            <a:r>
              <a:rPr lang="en-AU" dirty="0">
                <a:effectLst/>
                <a:latin typeface="Aptos" panose="020B000402020202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eyond the counter :</a:t>
            </a:r>
            <a:br>
              <a:rPr lang="en-AU" dirty="0">
                <a:effectLst/>
                <a:latin typeface="Aptos" panose="020B0004020202020204" pitchFamily="34" charset="0"/>
                <a:ea typeface="Aptos" panose="020B0004020202020204" pitchFamily="34" charset="0"/>
                <a:cs typeface="Calibri" panose="020F0502020204030204" pitchFamily="34" charset="0"/>
              </a:rPr>
            </a:br>
            <a:r>
              <a:rPr lang="en-AU" dirty="0">
                <a:effectLst/>
                <a:latin typeface="Aptos" panose="020B000402020202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</a:t>
            </a:r>
            <a:r>
              <a:rPr lang="en-AU">
                <a:latin typeface="Aptos" panose="020B000402020202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mproving vaccine accessibility</a:t>
            </a:r>
            <a:br>
              <a:rPr lang="en-AU" dirty="0">
                <a:effectLst/>
                <a:latin typeface="Aptos" panose="020B0004020202020204" pitchFamily="34" charset="0"/>
                <a:ea typeface="Aptos" panose="020B0004020202020204" pitchFamily="34" charset="0"/>
                <a:cs typeface="Calibri" panose="020F0502020204030204" pitchFamily="34" charset="0"/>
              </a:rPr>
            </a:br>
            <a:br>
              <a:rPr lang="en-AU" sz="45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Calibri" panose="020F0502020204030204" pitchFamily="34" charset="0"/>
              </a:rPr>
            </a:br>
            <a:r>
              <a:rPr lang="en-AU" sz="2400" b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ayli Foong  WA State Manager</a:t>
            </a:r>
            <a:br>
              <a:rPr lang="en-AU" sz="2400" b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Calibri" panose="020F0502020204030204" pitchFamily="34" charset="0"/>
              </a:rPr>
            </a:br>
            <a:r>
              <a:rPr lang="en-AU" sz="2400" b="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harmaceutical Society of Australia</a:t>
            </a:r>
            <a:br>
              <a:rPr lang="en-AU" sz="45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Calibri" panose="020F0502020204030204" pitchFamily="34" charset="0"/>
              </a:rPr>
            </a:br>
            <a:endParaRPr lang="en-US" sz="4500" dirty="0"/>
          </a:p>
        </p:txBody>
      </p:sp>
    </p:spTree>
    <p:extLst>
      <p:ext uri="{BB962C8B-B14F-4D97-AF65-F5344CB8AC3E}">
        <p14:creationId xmlns:p14="http://schemas.microsoft.com/office/powerpoint/2010/main" val="9281623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59B12EC-C898-10F3-D92F-AF958D169583}"/>
              </a:ext>
            </a:extLst>
          </p:cNvPr>
          <p:cNvGraphicFramePr/>
          <p:nvPr/>
        </p:nvGraphicFramePr>
        <p:xfrm>
          <a:off x="207163" y="723963"/>
          <a:ext cx="8433600" cy="3956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689AEA9D-38BA-B9BD-7277-399B25894688}"/>
              </a:ext>
            </a:extLst>
          </p:cNvPr>
          <p:cNvSpPr/>
          <p:nvPr/>
        </p:nvSpPr>
        <p:spPr>
          <a:xfrm>
            <a:off x="3742021" y="362736"/>
            <a:ext cx="1139579" cy="568543"/>
          </a:xfrm>
          <a:prstGeom prst="rect">
            <a:avLst/>
          </a:prstGeom>
          <a:solidFill>
            <a:srgbClr val="C00000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683343C-F27C-0810-EC53-6786D4205293}"/>
              </a:ext>
            </a:extLst>
          </p:cNvPr>
          <p:cNvSpPr/>
          <p:nvPr/>
        </p:nvSpPr>
        <p:spPr>
          <a:xfrm>
            <a:off x="343362" y="362737"/>
            <a:ext cx="3415038" cy="56854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C87F603-4552-E108-FE02-181024178EA5}"/>
              </a:ext>
            </a:extLst>
          </p:cNvPr>
          <p:cNvSpPr txBox="1">
            <a:spLocks/>
          </p:cNvSpPr>
          <p:nvPr/>
        </p:nvSpPr>
        <p:spPr bwMode="auto">
          <a:xfrm>
            <a:off x="323741" y="281974"/>
            <a:ext cx="4557859" cy="731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en-AU" dirty="0"/>
              <a:t>Vaccination trends   HPV</a:t>
            </a:r>
          </a:p>
        </p:txBody>
      </p:sp>
      <p:sp>
        <p:nvSpPr>
          <p:cNvPr id="12" name="Arrow: Pentagon 3">
            <a:extLst>
              <a:ext uri="{FF2B5EF4-FFF2-40B4-BE49-F238E27FC236}">
                <a16:creationId xmlns:a16="http://schemas.microsoft.com/office/drawing/2014/main" id="{9E31E3F1-2CC5-41F9-3DBA-9E8717E02D7E}"/>
              </a:ext>
            </a:extLst>
          </p:cNvPr>
          <p:cNvSpPr/>
          <p:nvPr/>
        </p:nvSpPr>
        <p:spPr>
          <a:xfrm>
            <a:off x="5637600" y="362736"/>
            <a:ext cx="1442238" cy="731381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 from two-dose vaccine to one-dose vaccin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793D42B-1E98-5556-5B83-1D31C533C868}"/>
              </a:ext>
            </a:extLst>
          </p:cNvPr>
          <p:cNvCxnSpPr/>
          <p:nvPr/>
        </p:nvCxnSpPr>
        <p:spPr>
          <a:xfrm>
            <a:off x="5637600" y="632607"/>
            <a:ext cx="0" cy="3780993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2026C2D5-87C5-13DD-6620-4B3C2DA9E646}"/>
              </a:ext>
            </a:extLst>
          </p:cNvPr>
          <p:cNvSpPr txBox="1"/>
          <p:nvPr/>
        </p:nvSpPr>
        <p:spPr>
          <a:xfrm>
            <a:off x="323740" y="4904627"/>
            <a:ext cx="777625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GB" sz="800"/>
              <a:t>Source: AIR via </a:t>
            </a:r>
            <a:r>
              <a:rPr lang="en-GB" sz="800">
                <a:hlinkClick r:id="rId4"/>
              </a:rPr>
              <a:t>https://www.health.gov.au/topics/immunisation/immunisation-data/human-papillomavirus-hpv-immunisation-data</a:t>
            </a:r>
            <a:r>
              <a:rPr lang="en-GB" sz="800"/>
              <a:t>, Data as at 5 June 2025</a:t>
            </a:r>
          </a:p>
        </p:txBody>
      </p:sp>
    </p:spTree>
    <p:extLst>
      <p:ext uri="{BB962C8B-B14F-4D97-AF65-F5344CB8AC3E}">
        <p14:creationId xmlns:p14="http://schemas.microsoft.com/office/powerpoint/2010/main" val="613885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B900C1-9F36-E720-90B8-1BEE96408C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99AFE48-FFBA-B96B-25EF-C67D32E9FA72}"/>
              </a:ext>
            </a:extLst>
          </p:cNvPr>
          <p:cNvSpPr/>
          <p:nvPr/>
        </p:nvSpPr>
        <p:spPr>
          <a:xfrm>
            <a:off x="343363" y="362738"/>
            <a:ext cx="5025806" cy="56854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9730E00-24C3-7B27-AAB6-F0BFAEA94D12}"/>
              </a:ext>
            </a:extLst>
          </p:cNvPr>
          <p:cNvSpPr txBox="1">
            <a:spLocks/>
          </p:cNvSpPr>
          <p:nvPr/>
        </p:nvSpPr>
        <p:spPr bwMode="auto">
          <a:xfrm>
            <a:off x="323741" y="281975"/>
            <a:ext cx="5209551" cy="731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 defTabSz="457189"/>
            <a:r>
              <a:rPr lang="en-AU">
                <a:solidFill>
                  <a:prstClr val="white"/>
                </a:solidFill>
              </a:rPr>
              <a:t>Maturing role as vaccinators</a:t>
            </a:r>
          </a:p>
        </p:txBody>
      </p:sp>
      <p:sp>
        <p:nvSpPr>
          <p:cNvPr id="2" name="Arrow: Pentagon 3">
            <a:extLst>
              <a:ext uri="{FF2B5EF4-FFF2-40B4-BE49-F238E27FC236}">
                <a16:creationId xmlns:a16="http://schemas.microsoft.com/office/drawing/2014/main" id="{450D87C2-1CAD-1144-8AB1-2B76675896E2}"/>
              </a:ext>
            </a:extLst>
          </p:cNvPr>
          <p:cNvSpPr/>
          <p:nvPr/>
        </p:nvSpPr>
        <p:spPr>
          <a:xfrm>
            <a:off x="343362" y="2959935"/>
            <a:ext cx="2747010" cy="412319"/>
          </a:xfrm>
          <a:prstGeom prst="homePlate">
            <a:avLst>
              <a:gd name="adj" fmla="val 0"/>
            </a:avLst>
          </a:prstGeom>
          <a:solidFill>
            <a:srgbClr val="013D7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8"/>
            <a:r>
              <a:rPr lang="en-A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mpaign vaccinator</a:t>
            </a:r>
          </a:p>
        </p:txBody>
      </p:sp>
      <p:sp>
        <p:nvSpPr>
          <p:cNvPr id="3" name="Arrow: Pentagon 14">
            <a:extLst>
              <a:ext uri="{FF2B5EF4-FFF2-40B4-BE49-F238E27FC236}">
                <a16:creationId xmlns:a16="http://schemas.microsoft.com/office/drawing/2014/main" id="{EE6EEF09-1733-DFB8-75DB-9EFFC3DE1AE8}"/>
              </a:ext>
            </a:extLst>
          </p:cNvPr>
          <p:cNvSpPr/>
          <p:nvPr/>
        </p:nvSpPr>
        <p:spPr>
          <a:xfrm>
            <a:off x="343362" y="3372254"/>
            <a:ext cx="2747010" cy="1102470"/>
          </a:xfrm>
          <a:prstGeom prst="homePlate">
            <a:avLst>
              <a:gd name="adj" fmla="val 0"/>
            </a:avLst>
          </a:prstGeom>
          <a:solidFill>
            <a:srgbClr val="013D79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43" indent="-285743" defTabSz="914378">
              <a:buFont typeface="Arial" panose="020B0604020202020204" pitchFamily="34" charset="0"/>
              <a:buChar char="•"/>
            </a:pPr>
            <a:r>
              <a:rPr lang="en-AU" sz="1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and-driven</a:t>
            </a:r>
          </a:p>
          <a:p>
            <a:pPr marL="285743" indent="-285743" defTabSz="914378">
              <a:buFont typeface="Arial" panose="020B0604020202020204" pitchFamily="34" charset="0"/>
              <a:buChar char="•"/>
            </a:pPr>
            <a:r>
              <a:rPr lang="en-AU" sz="1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ed on specific antigen(s)</a:t>
            </a:r>
          </a:p>
        </p:txBody>
      </p:sp>
      <p:sp>
        <p:nvSpPr>
          <p:cNvPr id="6" name="Arrow: Pentagon 3">
            <a:extLst>
              <a:ext uri="{FF2B5EF4-FFF2-40B4-BE49-F238E27FC236}">
                <a16:creationId xmlns:a16="http://schemas.microsoft.com/office/drawing/2014/main" id="{FAEF974B-4463-8361-1245-2709FFBDA9D8}"/>
              </a:ext>
            </a:extLst>
          </p:cNvPr>
          <p:cNvSpPr/>
          <p:nvPr/>
        </p:nvSpPr>
        <p:spPr>
          <a:xfrm>
            <a:off x="5406421" y="2159432"/>
            <a:ext cx="2747010" cy="412319"/>
          </a:xfrm>
          <a:prstGeom prst="homePlate">
            <a:avLst>
              <a:gd name="adj" fmla="val 0"/>
            </a:avLst>
          </a:prstGeom>
          <a:solidFill>
            <a:srgbClr val="013D7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8"/>
            <a:r>
              <a:rPr lang="en-A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ole-of-life vaccinator</a:t>
            </a:r>
          </a:p>
        </p:txBody>
      </p:sp>
      <p:sp>
        <p:nvSpPr>
          <p:cNvPr id="7" name="Arrow: Pentagon 14">
            <a:extLst>
              <a:ext uri="{FF2B5EF4-FFF2-40B4-BE49-F238E27FC236}">
                <a16:creationId xmlns:a16="http://schemas.microsoft.com/office/drawing/2014/main" id="{1FAF3E31-CF47-3B79-6C0A-2833710BF601}"/>
              </a:ext>
            </a:extLst>
          </p:cNvPr>
          <p:cNvSpPr/>
          <p:nvPr/>
        </p:nvSpPr>
        <p:spPr>
          <a:xfrm>
            <a:off x="5406421" y="2571751"/>
            <a:ext cx="2747010" cy="1902973"/>
          </a:xfrm>
          <a:prstGeom prst="homePlate">
            <a:avLst>
              <a:gd name="adj" fmla="val 0"/>
            </a:avLst>
          </a:prstGeom>
          <a:solidFill>
            <a:srgbClr val="013D79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43" indent="-285743" defTabSz="914378">
              <a:buFont typeface="Arial" panose="020B0604020202020204" pitchFamily="34" charset="0"/>
              <a:buChar char="•"/>
            </a:pPr>
            <a:r>
              <a:rPr lang="en-AU" sz="1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active offer of vaccination</a:t>
            </a:r>
          </a:p>
          <a:p>
            <a:pPr marL="285743" indent="-285743" defTabSz="914378">
              <a:buFont typeface="Arial" panose="020B0604020202020204" pitchFamily="34" charset="0"/>
              <a:buChar char="•"/>
            </a:pPr>
            <a:r>
              <a:rPr lang="en-AU" sz="1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eration of all required, routine and recommended vaccines</a:t>
            </a:r>
          </a:p>
          <a:p>
            <a:pPr marL="285743" indent="-285743" defTabSz="914378">
              <a:buFont typeface="Arial" panose="020B0604020202020204" pitchFamily="34" charset="0"/>
              <a:buChar char="•"/>
            </a:pPr>
            <a:r>
              <a:rPr lang="en-AU" sz="1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ient recall and engagemen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9C9B656-77C8-011E-B781-0AAB437DD8BC}"/>
              </a:ext>
            </a:extLst>
          </p:cNvPr>
          <p:cNvSpPr/>
          <p:nvPr/>
        </p:nvSpPr>
        <p:spPr>
          <a:xfrm>
            <a:off x="4866876" y="2159432"/>
            <a:ext cx="412319" cy="41231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4897316-3B99-D5EA-88B3-2C136C1FBD36}"/>
              </a:ext>
            </a:extLst>
          </p:cNvPr>
          <p:cNvSpPr/>
          <p:nvPr/>
        </p:nvSpPr>
        <p:spPr>
          <a:xfrm>
            <a:off x="4454557" y="2365591"/>
            <a:ext cx="412319" cy="41231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BAB7FE1-891B-51CA-00FA-ACCB7DA252DC}"/>
              </a:ext>
            </a:extLst>
          </p:cNvPr>
          <p:cNvSpPr/>
          <p:nvPr/>
        </p:nvSpPr>
        <p:spPr>
          <a:xfrm>
            <a:off x="4042238" y="2563706"/>
            <a:ext cx="412319" cy="41231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48B3155-8A1D-6946-3462-F50CBF80BF35}"/>
              </a:ext>
            </a:extLst>
          </p:cNvPr>
          <p:cNvSpPr/>
          <p:nvPr/>
        </p:nvSpPr>
        <p:spPr>
          <a:xfrm>
            <a:off x="3629919" y="2761821"/>
            <a:ext cx="412319" cy="41231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0443B0-0F21-34F5-B1A0-6BC570A1548A}"/>
              </a:ext>
            </a:extLst>
          </p:cNvPr>
          <p:cNvSpPr/>
          <p:nvPr/>
        </p:nvSpPr>
        <p:spPr>
          <a:xfrm>
            <a:off x="3217600" y="2959936"/>
            <a:ext cx="412319" cy="41231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E222085-5582-E6BE-177B-B057F7849674}"/>
              </a:ext>
            </a:extLst>
          </p:cNvPr>
          <p:cNvSpPr/>
          <p:nvPr/>
        </p:nvSpPr>
        <p:spPr>
          <a:xfrm>
            <a:off x="3217600" y="2976025"/>
            <a:ext cx="2061595" cy="149869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FA92B4-DFA1-C91C-2B96-CE1635A09293}"/>
              </a:ext>
            </a:extLst>
          </p:cNvPr>
          <p:cNvSpPr/>
          <p:nvPr/>
        </p:nvSpPr>
        <p:spPr>
          <a:xfrm>
            <a:off x="4454556" y="2571751"/>
            <a:ext cx="824638" cy="116166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11B5BAF-4581-8879-876C-EFAC97054C1A}"/>
              </a:ext>
            </a:extLst>
          </p:cNvPr>
          <p:cNvSpPr txBox="1"/>
          <p:nvPr/>
        </p:nvSpPr>
        <p:spPr>
          <a:xfrm rot="5400000">
            <a:off x="4598818" y="2453023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/>
            <a:r>
              <a:rPr lang="en-A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PVIP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841A6B6-C85E-A042-4336-86870305BDD6}"/>
              </a:ext>
            </a:extLst>
          </p:cNvPr>
          <p:cNvSpPr txBox="1"/>
          <p:nvPr/>
        </p:nvSpPr>
        <p:spPr>
          <a:xfrm rot="5400000">
            <a:off x="3757140" y="3113232"/>
            <a:ext cx="18646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/>
            <a:r>
              <a:rPr lang="en-A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y trus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3959DD2-B9F1-0860-D23D-9C66B9E2D9D6}"/>
              </a:ext>
            </a:extLst>
          </p:cNvPr>
          <p:cNvSpPr txBox="1"/>
          <p:nvPr/>
        </p:nvSpPr>
        <p:spPr>
          <a:xfrm rot="5400000">
            <a:off x="3556344" y="2861850"/>
            <a:ext cx="5693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/>
            <a:r>
              <a:rPr lang="en-A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8CB252C-63C2-855D-9A49-0F203C122B58}"/>
              </a:ext>
            </a:extLst>
          </p:cNvPr>
          <p:cNvSpPr txBox="1"/>
          <p:nvPr/>
        </p:nvSpPr>
        <p:spPr>
          <a:xfrm rot="5400000">
            <a:off x="2775839" y="3444684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/>
            <a:r>
              <a:rPr lang="en-A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enc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A39876D-32FC-1E1E-84A5-C53D497D6DA9}"/>
              </a:ext>
            </a:extLst>
          </p:cNvPr>
          <p:cNvSpPr txBox="1"/>
          <p:nvPr/>
        </p:nvSpPr>
        <p:spPr>
          <a:xfrm rot="5400000">
            <a:off x="3287112" y="3369055"/>
            <a:ext cx="1980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/>
            <a:r>
              <a:rPr lang="en-A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ulary growth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D324A6B-FB0A-4BAB-5AA0-707296262D41}"/>
              </a:ext>
            </a:extLst>
          </p:cNvPr>
          <p:cNvSpPr/>
          <p:nvPr/>
        </p:nvSpPr>
        <p:spPr>
          <a:xfrm>
            <a:off x="3217600" y="1905625"/>
            <a:ext cx="5012000" cy="2996159"/>
          </a:xfrm>
          <a:prstGeom prst="rect">
            <a:avLst/>
          </a:prstGeom>
          <a:solidFill>
            <a:srgbClr val="FFFFFF">
              <a:alpha val="7882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679581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2A68079D-2B77-E347-A7F5-1435686205C2}"/>
              </a:ext>
            </a:extLst>
          </p:cNvPr>
          <p:cNvGraphicFramePr>
            <a:graphicFrameLocks/>
          </p:cNvGraphicFramePr>
          <p:nvPr/>
        </p:nvGraphicFramePr>
        <p:xfrm>
          <a:off x="158166" y="762001"/>
          <a:ext cx="8187742" cy="42593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786BE6B-39E7-DF9B-DFDA-776D738FE61F}"/>
              </a:ext>
            </a:extLst>
          </p:cNvPr>
          <p:cNvSpPr/>
          <p:nvPr/>
        </p:nvSpPr>
        <p:spPr>
          <a:xfrm>
            <a:off x="343364" y="362738"/>
            <a:ext cx="3822238" cy="56854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4B4E938-08B0-E307-B48D-7FCCBAA238A4}"/>
              </a:ext>
            </a:extLst>
          </p:cNvPr>
          <p:cNvSpPr txBox="1">
            <a:spLocks/>
          </p:cNvSpPr>
          <p:nvPr/>
        </p:nvSpPr>
        <p:spPr bwMode="auto">
          <a:xfrm>
            <a:off x="285179" y="257057"/>
            <a:ext cx="3943459" cy="731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 defTabSz="457189"/>
            <a:r>
              <a:rPr lang="en-AU">
                <a:solidFill>
                  <a:prstClr val="white"/>
                </a:solidFill>
              </a:rPr>
              <a:t>Influenza vaccin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C2141C-78B5-A989-8950-D621093E3D4E}"/>
              </a:ext>
            </a:extLst>
          </p:cNvPr>
          <p:cNvSpPr txBox="1"/>
          <p:nvPr/>
        </p:nvSpPr>
        <p:spPr>
          <a:xfrm>
            <a:off x="4228637" y="394343"/>
            <a:ext cx="4572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8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GB" sz="1400" b="1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rtion influenza vaccines administered </a:t>
            </a:r>
            <a:br>
              <a:rPr lang="en-GB" sz="140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40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tralia (national) (all doses - </a:t>
            </a:r>
            <a:r>
              <a:rPr lang="en-GB" sz="1400" err="1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k</a:t>
            </a:r>
            <a:r>
              <a:rPr lang="en-GB" sz="140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5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C81BF8-F463-C2FC-D66D-945A267BB224}"/>
              </a:ext>
            </a:extLst>
          </p:cNvPr>
          <p:cNvSpPr txBox="1"/>
          <p:nvPr/>
        </p:nvSpPr>
        <p:spPr>
          <a:xfrm>
            <a:off x="323741" y="4904627"/>
            <a:ext cx="4572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8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GB" sz="80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AIR via Department of Health (Cwlth), Data as at 5 October 2025</a:t>
            </a:r>
          </a:p>
        </p:txBody>
      </p:sp>
    </p:spTree>
    <p:extLst>
      <p:ext uri="{BB962C8B-B14F-4D97-AF65-F5344CB8AC3E}">
        <p14:creationId xmlns:p14="http://schemas.microsoft.com/office/powerpoint/2010/main" val="21904329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343FE7-A9DE-CF47-9A57-0CAF772BA9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>
            <a:extLst>
              <a:ext uri="{FF2B5EF4-FFF2-40B4-BE49-F238E27FC236}">
                <a16:creationId xmlns:a16="http://schemas.microsoft.com/office/drawing/2014/main" id="{E2FF4379-B078-C83B-B043-00686078F3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9" t="129" r="15738" b="20467"/>
          <a:stretch/>
        </p:blipFill>
        <p:spPr bwMode="auto">
          <a:xfrm>
            <a:off x="0" y="8304"/>
            <a:ext cx="9144000" cy="5135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6E1AB6D-0858-CED2-C924-BBB86AFFECE1}"/>
              </a:ext>
            </a:extLst>
          </p:cNvPr>
          <p:cNvSpPr/>
          <p:nvPr/>
        </p:nvSpPr>
        <p:spPr>
          <a:xfrm>
            <a:off x="343364" y="362738"/>
            <a:ext cx="3822238" cy="56854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B9DABD0-989A-BAE0-A4CA-3237E80050C1}"/>
              </a:ext>
            </a:extLst>
          </p:cNvPr>
          <p:cNvSpPr txBox="1">
            <a:spLocks/>
          </p:cNvSpPr>
          <p:nvPr/>
        </p:nvSpPr>
        <p:spPr bwMode="auto">
          <a:xfrm>
            <a:off x="323742" y="281975"/>
            <a:ext cx="3943459" cy="731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 defTabSz="457189"/>
            <a:r>
              <a:rPr lang="en-AU">
                <a:solidFill>
                  <a:prstClr val="white"/>
                </a:solidFill>
              </a:rPr>
              <a:t>COVID-19 vaccination</a:t>
            </a:r>
          </a:p>
        </p:txBody>
      </p:sp>
    </p:spTree>
    <p:extLst>
      <p:ext uri="{BB962C8B-B14F-4D97-AF65-F5344CB8AC3E}">
        <p14:creationId xmlns:p14="http://schemas.microsoft.com/office/powerpoint/2010/main" val="17447583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4D4CFD-F783-AA8A-099F-48359F620B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560FCF4E-D619-0D9F-FE37-F47E7434901F}"/>
              </a:ext>
            </a:extLst>
          </p:cNvPr>
          <p:cNvGraphicFramePr>
            <a:graphicFrameLocks/>
          </p:cNvGraphicFramePr>
          <p:nvPr/>
        </p:nvGraphicFramePr>
        <p:xfrm>
          <a:off x="343363" y="-85059"/>
          <a:ext cx="4533438" cy="49748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BB86B0EB-3887-B0DB-95FF-9BBFF74CDBEA}"/>
              </a:ext>
            </a:extLst>
          </p:cNvPr>
          <p:cNvSpPr/>
          <p:nvPr/>
        </p:nvSpPr>
        <p:spPr>
          <a:xfrm>
            <a:off x="8159932" y="4005944"/>
            <a:ext cx="984069" cy="113755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46436AE-A75E-D72D-E564-A51C49AF2876}"/>
              </a:ext>
            </a:extLst>
          </p:cNvPr>
          <p:cNvSpPr/>
          <p:nvPr/>
        </p:nvSpPr>
        <p:spPr>
          <a:xfrm>
            <a:off x="343364" y="362738"/>
            <a:ext cx="3822238" cy="56854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0888C00-3952-6EC8-5597-3D8131914E3B}"/>
              </a:ext>
            </a:extLst>
          </p:cNvPr>
          <p:cNvSpPr txBox="1">
            <a:spLocks/>
          </p:cNvSpPr>
          <p:nvPr/>
        </p:nvSpPr>
        <p:spPr bwMode="auto">
          <a:xfrm>
            <a:off x="323742" y="281975"/>
            <a:ext cx="3943459" cy="731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 defTabSz="457189"/>
            <a:r>
              <a:rPr lang="en-AU">
                <a:solidFill>
                  <a:prstClr val="white"/>
                </a:solidFill>
              </a:rPr>
              <a:t>COVID-19 vaccin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76CE63C-0EF0-A822-FDE9-C3FC1DF60C02}"/>
              </a:ext>
            </a:extLst>
          </p:cNvPr>
          <p:cNvSpPr txBox="1"/>
          <p:nvPr/>
        </p:nvSpPr>
        <p:spPr>
          <a:xfrm>
            <a:off x="343364" y="4873012"/>
            <a:ext cx="79565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8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80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VID-19 vaccines administered in community pharmacies, </a:t>
            </a:r>
            <a:r>
              <a:rPr lang="en-US" sz="800" i="1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</a:t>
            </a:r>
            <a:r>
              <a:rPr lang="en-US" sz="80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AIR via Department of Health, Updated by PSA 8 October 2025</a:t>
            </a:r>
            <a:endParaRPr lang="en-AU" sz="80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BB0A7A0-09DA-9B1B-007F-8BAA7D2E028B}"/>
              </a:ext>
            </a:extLst>
          </p:cNvPr>
          <p:cNvSpPr txBox="1">
            <a:spLocks/>
          </p:cNvSpPr>
          <p:nvPr/>
        </p:nvSpPr>
        <p:spPr bwMode="auto">
          <a:xfrm>
            <a:off x="3332664" y="1296906"/>
            <a:ext cx="1239336" cy="731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2500" lnSpcReduction="10000"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r" defTabSz="457189"/>
            <a:r>
              <a:rPr lang="en-AU" sz="2000">
                <a:solidFill>
                  <a:srgbClr val="C00000"/>
                </a:solidFill>
              </a:rPr>
              <a:t>13.6 </a:t>
            </a:r>
            <a:br>
              <a:rPr lang="en-AU" sz="2000">
                <a:solidFill>
                  <a:srgbClr val="C00000"/>
                </a:solidFill>
              </a:rPr>
            </a:br>
            <a:r>
              <a:rPr lang="en-AU" sz="1400">
                <a:solidFill>
                  <a:srgbClr val="C00000"/>
                </a:solidFill>
              </a:rPr>
              <a:t>million doses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6736FD4-34D5-0E4F-A6A5-F02804C21320}"/>
              </a:ext>
            </a:extLst>
          </p:cNvPr>
          <p:cNvGraphicFramePr>
            <a:graphicFrameLocks/>
          </p:cNvGraphicFramePr>
          <p:nvPr/>
        </p:nvGraphicFramePr>
        <p:xfrm>
          <a:off x="4698591" y="446086"/>
          <a:ext cx="4728208" cy="4541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4621D8FA-4D30-EDCE-BFA7-E7EE6ADC47F5}"/>
              </a:ext>
            </a:extLst>
          </p:cNvPr>
          <p:cNvSpPr txBox="1">
            <a:spLocks/>
          </p:cNvSpPr>
          <p:nvPr/>
        </p:nvSpPr>
        <p:spPr bwMode="auto">
          <a:xfrm>
            <a:off x="6618470" y="514812"/>
            <a:ext cx="2281331" cy="731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85000" lnSpcReduction="10000"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r" defTabSz="457189"/>
            <a:r>
              <a:rPr lang="en-AU" sz="2000">
                <a:solidFill>
                  <a:srgbClr val="00B0F0"/>
                </a:solidFill>
              </a:rPr>
              <a:t>Average daily doses administered</a:t>
            </a:r>
            <a:endParaRPr lang="en-AU" sz="1400">
              <a:solidFill>
                <a:srgbClr val="00B0F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F7FE276-438C-5E28-4C46-81EDD3A6B6EA}"/>
              </a:ext>
            </a:extLst>
          </p:cNvPr>
          <p:cNvSpPr txBox="1"/>
          <p:nvPr/>
        </p:nvSpPr>
        <p:spPr>
          <a:xfrm>
            <a:off x="279958" y="142684"/>
            <a:ext cx="2649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r>
              <a:rPr lang="en-A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TRALIA: Pharmacy</a:t>
            </a:r>
          </a:p>
        </p:txBody>
      </p:sp>
    </p:spTree>
    <p:extLst>
      <p:ext uri="{BB962C8B-B14F-4D97-AF65-F5344CB8AC3E}">
        <p14:creationId xmlns:p14="http://schemas.microsoft.com/office/powerpoint/2010/main" val="12363289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3E0C8E-725D-DD9E-BE1C-D9F55EBEB2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3AF04B50-C572-EA00-9713-343822AAF7FC}"/>
              </a:ext>
            </a:extLst>
          </p:cNvPr>
          <p:cNvGraphicFramePr/>
          <p:nvPr/>
        </p:nvGraphicFramePr>
        <p:xfrm>
          <a:off x="272942" y="442763"/>
          <a:ext cx="7995160" cy="45123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90B8700-1C57-3152-0D92-E7F47218408F}"/>
              </a:ext>
            </a:extLst>
          </p:cNvPr>
          <p:cNvSpPr/>
          <p:nvPr/>
        </p:nvSpPr>
        <p:spPr>
          <a:xfrm>
            <a:off x="343363" y="362738"/>
            <a:ext cx="4525416" cy="56854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6DFCD83-DF78-769A-AEEF-183BDEC5E1C4}"/>
              </a:ext>
            </a:extLst>
          </p:cNvPr>
          <p:cNvSpPr txBox="1">
            <a:spLocks/>
          </p:cNvSpPr>
          <p:nvPr/>
        </p:nvSpPr>
        <p:spPr bwMode="auto">
          <a:xfrm>
            <a:off x="323741" y="281975"/>
            <a:ext cx="4713480" cy="731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 defTabSz="457189"/>
            <a:r>
              <a:rPr lang="en-AU">
                <a:solidFill>
                  <a:prstClr val="white"/>
                </a:solidFill>
              </a:rPr>
              <a:t>NIPVIP claims: by antige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DEA83B-42AE-8472-A6EC-8F882E834FA6}"/>
              </a:ext>
            </a:extLst>
          </p:cNvPr>
          <p:cNvSpPr txBox="1"/>
          <p:nvPr/>
        </p:nvSpPr>
        <p:spPr>
          <a:xfrm>
            <a:off x="2215967" y="1364279"/>
            <a:ext cx="128907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378"/>
            <a:r>
              <a:rPr lang="en-AU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ng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216D7A6-E69A-EF60-AD42-3AF3F3E0CDDB}"/>
              </a:ext>
            </a:extLst>
          </p:cNvPr>
          <p:cNvSpPr txBox="1"/>
          <p:nvPr/>
        </p:nvSpPr>
        <p:spPr>
          <a:xfrm>
            <a:off x="2215968" y="3020696"/>
            <a:ext cx="13770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AU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uenz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D2415D3-065D-D48F-20DA-1B24B5712D80}"/>
              </a:ext>
            </a:extLst>
          </p:cNvPr>
          <p:cNvSpPr txBox="1"/>
          <p:nvPr/>
        </p:nvSpPr>
        <p:spPr>
          <a:xfrm>
            <a:off x="323741" y="4904627"/>
            <a:ext cx="4572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8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GB" sz="80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Department of Health (Cwlth), data current 30 September 202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B8202A-6DD1-9249-7E61-46D00C878F18}"/>
              </a:ext>
            </a:extLst>
          </p:cNvPr>
          <p:cNvSpPr txBox="1"/>
          <p:nvPr/>
        </p:nvSpPr>
        <p:spPr>
          <a:xfrm>
            <a:off x="5703522" y="3020696"/>
            <a:ext cx="13770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AU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uenz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748B4E-0C6B-7E31-75AB-7C0DD0A378D1}"/>
              </a:ext>
            </a:extLst>
          </p:cNvPr>
          <p:cNvSpPr txBox="1"/>
          <p:nvPr/>
        </p:nvSpPr>
        <p:spPr>
          <a:xfrm>
            <a:off x="5747486" y="1364279"/>
            <a:ext cx="128907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378"/>
            <a:r>
              <a:rPr lang="en-AU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ng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A0A4B7E-8CCF-74E4-30B6-AD97608FE7BE}"/>
              </a:ext>
            </a:extLst>
          </p:cNvPr>
          <p:cNvSpPr txBox="1"/>
          <p:nvPr/>
        </p:nvSpPr>
        <p:spPr>
          <a:xfrm>
            <a:off x="2215967" y="1949126"/>
            <a:ext cx="128907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378"/>
            <a:r>
              <a:rPr lang="en-AU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ngles</a:t>
            </a:r>
          </a:p>
        </p:txBody>
      </p:sp>
    </p:spTree>
    <p:extLst>
      <p:ext uri="{BB962C8B-B14F-4D97-AF65-F5344CB8AC3E}">
        <p14:creationId xmlns:p14="http://schemas.microsoft.com/office/powerpoint/2010/main" val="14342624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E1F5D3-BFCD-6FE6-A07E-88E9546E78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995F2DA-F2F7-970F-E05C-41311E0D750F}"/>
              </a:ext>
            </a:extLst>
          </p:cNvPr>
          <p:cNvGraphicFramePr/>
          <p:nvPr/>
        </p:nvGraphicFramePr>
        <p:xfrm>
          <a:off x="272942" y="230968"/>
          <a:ext cx="7995160" cy="4727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Freeform 5">
            <a:extLst>
              <a:ext uri="{FF2B5EF4-FFF2-40B4-BE49-F238E27FC236}">
                <a16:creationId xmlns:a16="http://schemas.microsoft.com/office/drawing/2014/main" id="{F349FEF6-5C0F-6683-1FA7-4767EE44DEBB}"/>
              </a:ext>
            </a:extLst>
          </p:cNvPr>
          <p:cNvSpPr/>
          <p:nvPr/>
        </p:nvSpPr>
        <p:spPr>
          <a:xfrm flipH="1">
            <a:off x="1540708" y="1056501"/>
            <a:ext cx="4137065" cy="3376864"/>
          </a:xfrm>
          <a:custGeom>
            <a:avLst/>
            <a:gdLst>
              <a:gd name="connsiteX0" fmla="*/ 0 w 4772526"/>
              <a:gd name="connsiteY0" fmla="*/ 729916 h 3376864"/>
              <a:gd name="connsiteX1" fmla="*/ 0 w 4772526"/>
              <a:gd name="connsiteY1" fmla="*/ 882316 h 3376864"/>
              <a:gd name="connsiteX2" fmla="*/ 1130968 w 4772526"/>
              <a:gd name="connsiteY2" fmla="*/ 3376864 h 3376864"/>
              <a:gd name="connsiteX3" fmla="*/ 4772526 w 4772526"/>
              <a:gd name="connsiteY3" fmla="*/ 3376864 h 3376864"/>
              <a:gd name="connsiteX4" fmla="*/ 4772526 w 4772526"/>
              <a:gd name="connsiteY4" fmla="*/ 3304674 h 3376864"/>
              <a:gd name="connsiteX5" fmla="*/ 4772526 w 4772526"/>
              <a:gd name="connsiteY5" fmla="*/ 0 h 3376864"/>
              <a:gd name="connsiteX6" fmla="*/ 1018673 w 4772526"/>
              <a:gd name="connsiteY6" fmla="*/ 0 h 3376864"/>
              <a:gd name="connsiteX7" fmla="*/ 0 w 4772526"/>
              <a:gd name="connsiteY7" fmla="*/ 729916 h 3376864"/>
              <a:gd name="connsiteX0" fmla="*/ 72190 w 4844716"/>
              <a:gd name="connsiteY0" fmla="*/ 729916 h 3376864"/>
              <a:gd name="connsiteX1" fmla="*/ 0 w 4844716"/>
              <a:gd name="connsiteY1" fmla="*/ 858253 h 3376864"/>
              <a:gd name="connsiteX2" fmla="*/ 1203158 w 4844716"/>
              <a:gd name="connsiteY2" fmla="*/ 3376864 h 3376864"/>
              <a:gd name="connsiteX3" fmla="*/ 4844716 w 4844716"/>
              <a:gd name="connsiteY3" fmla="*/ 3376864 h 3376864"/>
              <a:gd name="connsiteX4" fmla="*/ 4844716 w 4844716"/>
              <a:gd name="connsiteY4" fmla="*/ 3304674 h 3376864"/>
              <a:gd name="connsiteX5" fmla="*/ 4844716 w 4844716"/>
              <a:gd name="connsiteY5" fmla="*/ 0 h 3376864"/>
              <a:gd name="connsiteX6" fmla="*/ 1090863 w 4844716"/>
              <a:gd name="connsiteY6" fmla="*/ 0 h 3376864"/>
              <a:gd name="connsiteX7" fmla="*/ 72190 w 4844716"/>
              <a:gd name="connsiteY7" fmla="*/ 729916 h 3376864"/>
              <a:gd name="connsiteX0" fmla="*/ 0 w 4844716"/>
              <a:gd name="connsiteY0" fmla="*/ 721895 h 3376864"/>
              <a:gd name="connsiteX1" fmla="*/ 0 w 4844716"/>
              <a:gd name="connsiteY1" fmla="*/ 858253 h 3376864"/>
              <a:gd name="connsiteX2" fmla="*/ 1203158 w 4844716"/>
              <a:gd name="connsiteY2" fmla="*/ 3376864 h 3376864"/>
              <a:gd name="connsiteX3" fmla="*/ 4844716 w 4844716"/>
              <a:gd name="connsiteY3" fmla="*/ 3376864 h 3376864"/>
              <a:gd name="connsiteX4" fmla="*/ 4844716 w 4844716"/>
              <a:gd name="connsiteY4" fmla="*/ 3304674 h 3376864"/>
              <a:gd name="connsiteX5" fmla="*/ 4844716 w 4844716"/>
              <a:gd name="connsiteY5" fmla="*/ 0 h 3376864"/>
              <a:gd name="connsiteX6" fmla="*/ 1090863 w 4844716"/>
              <a:gd name="connsiteY6" fmla="*/ 0 h 3376864"/>
              <a:gd name="connsiteX7" fmla="*/ 0 w 4844716"/>
              <a:gd name="connsiteY7" fmla="*/ 721895 h 3376864"/>
              <a:gd name="connsiteX0" fmla="*/ 0 w 4860758"/>
              <a:gd name="connsiteY0" fmla="*/ 745958 h 3376864"/>
              <a:gd name="connsiteX1" fmla="*/ 16042 w 4860758"/>
              <a:gd name="connsiteY1" fmla="*/ 858253 h 3376864"/>
              <a:gd name="connsiteX2" fmla="*/ 1219200 w 4860758"/>
              <a:gd name="connsiteY2" fmla="*/ 3376864 h 3376864"/>
              <a:gd name="connsiteX3" fmla="*/ 4860758 w 4860758"/>
              <a:gd name="connsiteY3" fmla="*/ 3376864 h 3376864"/>
              <a:gd name="connsiteX4" fmla="*/ 4860758 w 4860758"/>
              <a:gd name="connsiteY4" fmla="*/ 3304674 h 3376864"/>
              <a:gd name="connsiteX5" fmla="*/ 4860758 w 4860758"/>
              <a:gd name="connsiteY5" fmla="*/ 0 h 3376864"/>
              <a:gd name="connsiteX6" fmla="*/ 1106905 w 4860758"/>
              <a:gd name="connsiteY6" fmla="*/ 0 h 3376864"/>
              <a:gd name="connsiteX7" fmla="*/ 0 w 4860758"/>
              <a:gd name="connsiteY7" fmla="*/ 745958 h 3376864"/>
              <a:gd name="connsiteX0" fmla="*/ 354531 w 4844716"/>
              <a:gd name="connsiteY0" fmla="*/ 447575 h 3376864"/>
              <a:gd name="connsiteX1" fmla="*/ 0 w 4844716"/>
              <a:gd name="connsiteY1" fmla="*/ 858253 h 3376864"/>
              <a:gd name="connsiteX2" fmla="*/ 1203158 w 4844716"/>
              <a:gd name="connsiteY2" fmla="*/ 3376864 h 3376864"/>
              <a:gd name="connsiteX3" fmla="*/ 4844716 w 4844716"/>
              <a:gd name="connsiteY3" fmla="*/ 3376864 h 3376864"/>
              <a:gd name="connsiteX4" fmla="*/ 4844716 w 4844716"/>
              <a:gd name="connsiteY4" fmla="*/ 3304674 h 3376864"/>
              <a:gd name="connsiteX5" fmla="*/ 4844716 w 4844716"/>
              <a:gd name="connsiteY5" fmla="*/ 0 h 3376864"/>
              <a:gd name="connsiteX6" fmla="*/ 1090863 w 4844716"/>
              <a:gd name="connsiteY6" fmla="*/ 0 h 3376864"/>
              <a:gd name="connsiteX7" fmla="*/ 354531 w 4844716"/>
              <a:gd name="connsiteY7" fmla="*/ 447575 h 3376864"/>
              <a:gd name="connsiteX0" fmla="*/ 8021 w 4498206"/>
              <a:gd name="connsiteY0" fmla="*/ 447575 h 3376864"/>
              <a:gd name="connsiteX1" fmla="*/ 0 w 4498206"/>
              <a:gd name="connsiteY1" fmla="*/ 579120 h 3376864"/>
              <a:gd name="connsiteX2" fmla="*/ 856648 w 4498206"/>
              <a:gd name="connsiteY2" fmla="*/ 3376864 h 3376864"/>
              <a:gd name="connsiteX3" fmla="*/ 4498206 w 4498206"/>
              <a:gd name="connsiteY3" fmla="*/ 3376864 h 3376864"/>
              <a:gd name="connsiteX4" fmla="*/ 4498206 w 4498206"/>
              <a:gd name="connsiteY4" fmla="*/ 3304674 h 3376864"/>
              <a:gd name="connsiteX5" fmla="*/ 4498206 w 4498206"/>
              <a:gd name="connsiteY5" fmla="*/ 0 h 3376864"/>
              <a:gd name="connsiteX6" fmla="*/ 744353 w 4498206"/>
              <a:gd name="connsiteY6" fmla="*/ 0 h 3376864"/>
              <a:gd name="connsiteX7" fmla="*/ 8021 w 4498206"/>
              <a:gd name="connsiteY7" fmla="*/ 447575 h 3376864"/>
              <a:gd name="connsiteX0" fmla="*/ 8021 w 4498206"/>
              <a:gd name="connsiteY0" fmla="*/ 362514 h 3376864"/>
              <a:gd name="connsiteX1" fmla="*/ 0 w 4498206"/>
              <a:gd name="connsiteY1" fmla="*/ 579120 h 3376864"/>
              <a:gd name="connsiteX2" fmla="*/ 856648 w 4498206"/>
              <a:gd name="connsiteY2" fmla="*/ 3376864 h 3376864"/>
              <a:gd name="connsiteX3" fmla="*/ 4498206 w 4498206"/>
              <a:gd name="connsiteY3" fmla="*/ 3376864 h 3376864"/>
              <a:gd name="connsiteX4" fmla="*/ 4498206 w 4498206"/>
              <a:gd name="connsiteY4" fmla="*/ 3304674 h 3376864"/>
              <a:gd name="connsiteX5" fmla="*/ 4498206 w 4498206"/>
              <a:gd name="connsiteY5" fmla="*/ 0 h 3376864"/>
              <a:gd name="connsiteX6" fmla="*/ 744353 w 4498206"/>
              <a:gd name="connsiteY6" fmla="*/ 0 h 3376864"/>
              <a:gd name="connsiteX7" fmla="*/ 8021 w 4498206"/>
              <a:gd name="connsiteY7" fmla="*/ 362514 h 3376864"/>
              <a:gd name="connsiteX0" fmla="*/ 3683 w 4498206"/>
              <a:gd name="connsiteY0" fmla="*/ 362514 h 3376864"/>
              <a:gd name="connsiteX1" fmla="*/ 0 w 4498206"/>
              <a:gd name="connsiteY1" fmla="*/ 579120 h 3376864"/>
              <a:gd name="connsiteX2" fmla="*/ 856648 w 4498206"/>
              <a:gd name="connsiteY2" fmla="*/ 3376864 h 3376864"/>
              <a:gd name="connsiteX3" fmla="*/ 4498206 w 4498206"/>
              <a:gd name="connsiteY3" fmla="*/ 3376864 h 3376864"/>
              <a:gd name="connsiteX4" fmla="*/ 4498206 w 4498206"/>
              <a:gd name="connsiteY4" fmla="*/ 3304674 h 3376864"/>
              <a:gd name="connsiteX5" fmla="*/ 4498206 w 4498206"/>
              <a:gd name="connsiteY5" fmla="*/ 0 h 3376864"/>
              <a:gd name="connsiteX6" fmla="*/ 744353 w 4498206"/>
              <a:gd name="connsiteY6" fmla="*/ 0 h 3376864"/>
              <a:gd name="connsiteX7" fmla="*/ 3683 w 4498206"/>
              <a:gd name="connsiteY7" fmla="*/ 362514 h 3376864"/>
              <a:gd name="connsiteX0" fmla="*/ 18 w 4557161"/>
              <a:gd name="connsiteY0" fmla="*/ 358118 h 3376864"/>
              <a:gd name="connsiteX1" fmla="*/ 58955 w 4557161"/>
              <a:gd name="connsiteY1" fmla="*/ 579120 h 3376864"/>
              <a:gd name="connsiteX2" fmla="*/ 915603 w 4557161"/>
              <a:gd name="connsiteY2" fmla="*/ 3376864 h 3376864"/>
              <a:gd name="connsiteX3" fmla="*/ 4557161 w 4557161"/>
              <a:gd name="connsiteY3" fmla="*/ 3376864 h 3376864"/>
              <a:gd name="connsiteX4" fmla="*/ 4557161 w 4557161"/>
              <a:gd name="connsiteY4" fmla="*/ 3304674 h 3376864"/>
              <a:gd name="connsiteX5" fmla="*/ 4557161 w 4557161"/>
              <a:gd name="connsiteY5" fmla="*/ 0 h 3376864"/>
              <a:gd name="connsiteX6" fmla="*/ 803308 w 4557161"/>
              <a:gd name="connsiteY6" fmla="*/ 0 h 3376864"/>
              <a:gd name="connsiteX7" fmla="*/ 18 w 4557161"/>
              <a:gd name="connsiteY7" fmla="*/ 358118 h 3376864"/>
              <a:gd name="connsiteX0" fmla="*/ 122 w 4557265"/>
              <a:gd name="connsiteY0" fmla="*/ 358118 h 3376864"/>
              <a:gd name="connsiteX1" fmla="*/ 6073 w 4557265"/>
              <a:gd name="connsiteY1" fmla="*/ 543950 h 3376864"/>
              <a:gd name="connsiteX2" fmla="*/ 915707 w 4557265"/>
              <a:gd name="connsiteY2" fmla="*/ 3376864 h 3376864"/>
              <a:gd name="connsiteX3" fmla="*/ 4557265 w 4557265"/>
              <a:gd name="connsiteY3" fmla="*/ 3376864 h 3376864"/>
              <a:gd name="connsiteX4" fmla="*/ 4557265 w 4557265"/>
              <a:gd name="connsiteY4" fmla="*/ 3304674 h 3376864"/>
              <a:gd name="connsiteX5" fmla="*/ 4557265 w 4557265"/>
              <a:gd name="connsiteY5" fmla="*/ 0 h 3376864"/>
              <a:gd name="connsiteX6" fmla="*/ 803412 w 4557265"/>
              <a:gd name="connsiteY6" fmla="*/ 0 h 3376864"/>
              <a:gd name="connsiteX7" fmla="*/ 122 w 4557265"/>
              <a:gd name="connsiteY7" fmla="*/ 358118 h 3376864"/>
              <a:gd name="connsiteX0" fmla="*/ 42 w 4557185"/>
              <a:gd name="connsiteY0" fmla="*/ 358118 h 3376864"/>
              <a:gd name="connsiteX1" fmla="*/ 24209 w 4557185"/>
              <a:gd name="connsiteY1" fmla="*/ 627078 h 3376864"/>
              <a:gd name="connsiteX2" fmla="*/ 915627 w 4557185"/>
              <a:gd name="connsiteY2" fmla="*/ 3376864 h 3376864"/>
              <a:gd name="connsiteX3" fmla="*/ 4557185 w 4557185"/>
              <a:gd name="connsiteY3" fmla="*/ 3376864 h 3376864"/>
              <a:gd name="connsiteX4" fmla="*/ 4557185 w 4557185"/>
              <a:gd name="connsiteY4" fmla="*/ 3304674 h 3376864"/>
              <a:gd name="connsiteX5" fmla="*/ 4557185 w 4557185"/>
              <a:gd name="connsiteY5" fmla="*/ 0 h 3376864"/>
              <a:gd name="connsiteX6" fmla="*/ 803332 w 4557185"/>
              <a:gd name="connsiteY6" fmla="*/ 0 h 3376864"/>
              <a:gd name="connsiteX7" fmla="*/ 42 w 4557185"/>
              <a:gd name="connsiteY7" fmla="*/ 358118 h 3376864"/>
              <a:gd name="connsiteX0" fmla="*/ 123 w 4539049"/>
              <a:gd name="connsiteY0" fmla="*/ 441245 h 3376864"/>
              <a:gd name="connsiteX1" fmla="*/ 6073 w 4539049"/>
              <a:gd name="connsiteY1" fmla="*/ 627078 h 3376864"/>
              <a:gd name="connsiteX2" fmla="*/ 897491 w 4539049"/>
              <a:gd name="connsiteY2" fmla="*/ 3376864 h 3376864"/>
              <a:gd name="connsiteX3" fmla="*/ 4539049 w 4539049"/>
              <a:gd name="connsiteY3" fmla="*/ 3376864 h 3376864"/>
              <a:gd name="connsiteX4" fmla="*/ 4539049 w 4539049"/>
              <a:gd name="connsiteY4" fmla="*/ 3304674 h 3376864"/>
              <a:gd name="connsiteX5" fmla="*/ 4539049 w 4539049"/>
              <a:gd name="connsiteY5" fmla="*/ 0 h 3376864"/>
              <a:gd name="connsiteX6" fmla="*/ 785196 w 4539049"/>
              <a:gd name="connsiteY6" fmla="*/ 0 h 3376864"/>
              <a:gd name="connsiteX7" fmla="*/ 123 w 4539049"/>
              <a:gd name="connsiteY7" fmla="*/ 441245 h 3376864"/>
              <a:gd name="connsiteX0" fmla="*/ 123 w 4539049"/>
              <a:gd name="connsiteY0" fmla="*/ 441245 h 3376864"/>
              <a:gd name="connsiteX1" fmla="*/ 6073 w 4539049"/>
              <a:gd name="connsiteY1" fmla="*/ 779478 h 3376864"/>
              <a:gd name="connsiteX2" fmla="*/ 897491 w 4539049"/>
              <a:gd name="connsiteY2" fmla="*/ 3376864 h 3376864"/>
              <a:gd name="connsiteX3" fmla="*/ 4539049 w 4539049"/>
              <a:gd name="connsiteY3" fmla="*/ 3376864 h 3376864"/>
              <a:gd name="connsiteX4" fmla="*/ 4539049 w 4539049"/>
              <a:gd name="connsiteY4" fmla="*/ 3304674 h 3376864"/>
              <a:gd name="connsiteX5" fmla="*/ 4539049 w 4539049"/>
              <a:gd name="connsiteY5" fmla="*/ 0 h 3376864"/>
              <a:gd name="connsiteX6" fmla="*/ 785196 w 4539049"/>
              <a:gd name="connsiteY6" fmla="*/ 0 h 3376864"/>
              <a:gd name="connsiteX7" fmla="*/ 123 w 4539049"/>
              <a:gd name="connsiteY7" fmla="*/ 441245 h 3376864"/>
              <a:gd name="connsiteX0" fmla="*/ 1641 w 4532976"/>
              <a:gd name="connsiteY0" fmla="*/ 600572 h 3376864"/>
              <a:gd name="connsiteX1" fmla="*/ 0 w 4532976"/>
              <a:gd name="connsiteY1" fmla="*/ 779478 h 3376864"/>
              <a:gd name="connsiteX2" fmla="*/ 891418 w 4532976"/>
              <a:gd name="connsiteY2" fmla="*/ 3376864 h 3376864"/>
              <a:gd name="connsiteX3" fmla="*/ 4532976 w 4532976"/>
              <a:gd name="connsiteY3" fmla="*/ 3376864 h 3376864"/>
              <a:gd name="connsiteX4" fmla="*/ 4532976 w 4532976"/>
              <a:gd name="connsiteY4" fmla="*/ 3304674 h 3376864"/>
              <a:gd name="connsiteX5" fmla="*/ 4532976 w 4532976"/>
              <a:gd name="connsiteY5" fmla="*/ 0 h 3376864"/>
              <a:gd name="connsiteX6" fmla="*/ 779123 w 4532976"/>
              <a:gd name="connsiteY6" fmla="*/ 0 h 3376864"/>
              <a:gd name="connsiteX7" fmla="*/ 1641 w 4532976"/>
              <a:gd name="connsiteY7" fmla="*/ 600572 h 337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32976" h="3376864">
                <a:moveTo>
                  <a:pt x="1641" y="600572"/>
                </a:moveTo>
                <a:cubicBezTo>
                  <a:pt x="413" y="672774"/>
                  <a:pt x="1228" y="707276"/>
                  <a:pt x="0" y="779478"/>
                </a:cubicBezTo>
                <a:lnTo>
                  <a:pt x="891418" y="3376864"/>
                </a:lnTo>
                <a:lnTo>
                  <a:pt x="4532976" y="3376864"/>
                </a:lnTo>
                <a:lnTo>
                  <a:pt x="4532976" y="3304674"/>
                </a:lnTo>
                <a:lnTo>
                  <a:pt x="4532976" y="0"/>
                </a:lnTo>
                <a:lnTo>
                  <a:pt x="779123" y="0"/>
                </a:lnTo>
                <a:lnTo>
                  <a:pt x="1641" y="60057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CEC4E479-A893-D6FE-8118-034F94DEB327}"/>
              </a:ext>
            </a:extLst>
          </p:cNvPr>
          <p:cNvGraphicFramePr/>
          <p:nvPr/>
        </p:nvGraphicFramePr>
        <p:xfrm>
          <a:off x="1540709" y="771865"/>
          <a:ext cx="6180377" cy="36504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973B223-5127-237C-215D-37FB53B66A96}"/>
              </a:ext>
            </a:extLst>
          </p:cNvPr>
          <p:cNvSpPr/>
          <p:nvPr/>
        </p:nvSpPr>
        <p:spPr>
          <a:xfrm>
            <a:off x="343363" y="362738"/>
            <a:ext cx="4525416" cy="56854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DC858C9-8D5C-7BB0-EAAB-E1B4606EFA3F}"/>
              </a:ext>
            </a:extLst>
          </p:cNvPr>
          <p:cNvSpPr txBox="1">
            <a:spLocks/>
          </p:cNvSpPr>
          <p:nvPr/>
        </p:nvSpPr>
        <p:spPr bwMode="auto">
          <a:xfrm>
            <a:off x="323741" y="281975"/>
            <a:ext cx="4713480" cy="731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 defTabSz="457189"/>
            <a:r>
              <a:rPr lang="en-AU">
                <a:solidFill>
                  <a:prstClr val="white"/>
                </a:solidFill>
              </a:rPr>
              <a:t>NIPVIP claims: by antige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B7E74F9-D4E6-9005-D0CE-D8DAE7BFC0B5}"/>
              </a:ext>
            </a:extLst>
          </p:cNvPr>
          <p:cNvSpPr txBox="1"/>
          <p:nvPr/>
        </p:nvSpPr>
        <p:spPr>
          <a:xfrm>
            <a:off x="323741" y="4904627"/>
            <a:ext cx="4572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8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GB" sz="80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Department of Health (Cwlth), data current 30 September 202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393CD3-FEE0-1E3F-0660-F97DBB0250E5}"/>
              </a:ext>
            </a:extLst>
          </p:cNvPr>
          <p:cNvSpPr txBox="1"/>
          <p:nvPr/>
        </p:nvSpPr>
        <p:spPr>
          <a:xfrm>
            <a:off x="5742752" y="2698918"/>
            <a:ext cx="1289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AU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uenz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FCF6679-7973-295C-2539-CADB728CAA7E}"/>
              </a:ext>
            </a:extLst>
          </p:cNvPr>
          <p:cNvSpPr txBox="1"/>
          <p:nvPr/>
        </p:nvSpPr>
        <p:spPr>
          <a:xfrm>
            <a:off x="5703521" y="1201548"/>
            <a:ext cx="1289079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378"/>
            <a:r>
              <a:rPr lang="en-AU" sz="14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ng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3D916E-0027-DE05-19CC-0C05339659CF}"/>
              </a:ext>
            </a:extLst>
          </p:cNvPr>
          <p:cNvSpPr txBox="1"/>
          <p:nvPr/>
        </p:nvSpPr>
        <p:spPr>
          <a:xfrm>
            <a:off x="2927323" y="2374829"/>
            <a:ext cx="1289079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378"/>
            <a:r>
              <a:rPr lang="en-AU" sz="11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neumococc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D7AD2B3-151B-5F61-31FA-496D34CFB804}"/>
              </a:ext>
            </a:extLst>
          </p:cNvPr>
          <p:cNvSpPr txBox="1"/>
          <p:nvPr/>
        </p:nvSpPr>
        <p:spPr>
          <a:xfrm>
            <a:off x="2927324" y="3190813"/>
            <a:ext cx="1289079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378"/>
            <a:r>
              <a:rPr lang="en-AU" sz="16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ussi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5E2E555-85C8-1C4D-AD50-EF4450063CA2}"/>
              </a:ext>
            </a:extLst>
          </p:cNvPr>
          <p:cNvSpPr txBox="1"/>
          <p:nvPr/>
        </p:nvSpPr>
        <p:spPr>
          <a:xfrm>
            <a:off x="2373850" y="3839311"/>
            <a:ext cx="71592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378"/>
            <a:r>
              <a:rPr lang="en-AU" b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PV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143A62A-45C8-FB7D-341E-CC49055E3664}"/>
              </a:ext>
            </a:extLst>
          </p:cNvPr>
          <p:cNvSpPr txBox="1"/>
          <p:nvPr/>
        </p:nvSpPr>
        <p:spPr>
          <a:xfrm>
            <a:off x="2927321" y="1603275"/>
            <a:ext cx="128907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378"/>
            <a:r>
              <a:rPr lang="en-AU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SV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B00A24-B600-40F3-ED80-E64A3CACBF3A}"/>
              </a:ext>
            </a:extLst>
          </p:cNvPr>
          <p:cNvSpPr txBox="1"/>
          <p:nvPr/>
        </p:nvSpPr>
        <p:spPr>
          <a:xfrm>
            <a:off x="4056226" y="3859339"/>
            <a:ext cx="110453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378"/>
            <a:r>
              <a:rPr lang="en-AU" b="1">
                <a:solidFill>
                  <a:srgbClr val="FF2F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B87004E-74A4-6FD5-E5C7-CB861B544765}"/>
              </a:ext>
            </a:extLst>
          </p:cNvPr>
          <p:cNvSpPr/>
          <p:nvPr/>
        </p:nvSpPr>
        <p:spPr>
          <a:xfrm>
            <a:off x="2317677" y="4657925"/>
            <a:ext cx="1085659" cy="25460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792B51F9-0F9C-B58D-6D98-8F0D6F8A4D81}"/>
              </a:ext>
            </a:extLst>
          </p:cNvPr>
          <p:cNvSpPr txBox="1">
            <a:spLocks/>
          </p:cNvSpPr>
          <p:nvPr/>
        </p:nvSpPr>
        <p:spPr bwMode="auto">
          <a:xfrm>
            <a:off x="272942" y="-68986"/>
            <a:ext cx="3943459" cy="731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 defTabSz="457189"/>
            <a:r>
              <a:rPr lang="en-AU" sz="1400">
                <a:solidFill>
                  <a:srgbClr val="C00000"/>
                </a:solidFill>
              </a:rPr>
              <a:t>2025 YEAR TO DAT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480964B-EE96-8AB1-1DCD-D71A9A4A14C3}"/>
              </a:ext>
            </a:extLst>
          </p:cNvPr>
          <p:cNvSpPr txBox="1"/>
          <p:nvPr/>
        </p:nvSpPr>
        <p:spPr>
          <a:xfrm>
            <a:off x="4044112" y="3642392"/>
            <a:ext cx="1435361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378"/>
            <a:r>
              <a:rPr lang="en-AU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 ACWY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C3C39EC-127C-02A0-D471-598081EB2E2C}"/>
              </a:ext>
            </a:extLst>
          </p:cNvPr>
          <p:cNvSpPr/>
          <p:nvPr/>
        </p:nvSpPr>
        <p:spPr>
          <a:xfrm>
            <a:off x="5696813" y="3927835"/>
            <a:ext cx="1389384" cy="409389"/>
          </a:xfrm>
          <a:prstGeom prst="rect">
            <a:avLst/>
          </a:prstGeom>
          <a:solidFill>
            <a:srgbClr val="001F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B9DC1C4-E8A2-C95D-A1CC-4FAC4C41246D}"/>
              </a:ext>
            </a:extLst>
          </p:cNvPr>
          <p:cNvSpPr/>
          <p:nvPr/>
        </p:nvSpPr>
        <p:spPr>
          <a:xfrm>
            <a:off x="7079270" y="4100423"/>
            <a:ext cx="653928" cy="642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370348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BED700-1614-09BB-8286-E7B09C5556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0C158C7-6AAB-8232-8693-DD117D0F3F67}"/>
              </a:ext>
            </a:extLst>
          </p:cNvPr>
          <p:cNvSpPr/>
          <p:nvPr/>
        </p:nvSpPr>
        <p:spPr>
          <a:xfrm>
            <a:off x="343363" y="362738"/>
            <a:ext cx="5025806" cy="56854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72954A0-1834-CFE5-1EE0-36029353D1AD}"/>
              </a:ext>
            </a:extLst>
          </p:cNvPr>
          <p:cNvSpPr txBox="1">
            <a:spLocks/>
          </p:cNvSpPr>
          <p:nvPr/>
        </p:nvSpPr>
        <p:spPr bwMode="auto">
          <a:xfrm>
            <a:off x="323741" y="281975"/>
            <a:ext cx="5209551" cy="731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 defTabSz="457189"/>
            <a:r>
              <a:rPr lang="en-AU">
                <a:solidFill>
                  <a:prstClr val="white"/>
                </a:solidFill>
              </a:rPr>
              <a:t>Maturing role as vaccinators</a:t>
            </a:r>
          </a:p>
        </p:txBody>
      </p:sp>
      <p:sp>
        <p:nvSpPr>
          <p:cNvPr id="2" name="Arrow: Pentagon 3">
            <a:extLst>
              <a:ext uri="{FF2B5EF4-FFF2-40B4-BE49-F238E27FC236}">
                <a16:creationId xmlns:a16="http://schemas.microsoft.com/office/drawing/2014/main" id="{C770D6F7-1FD4-750E-85FC-3346CFBEF7D2}"/>
              </a:ext>
            </a:extLst>
          </p:cNvPr>
          <p:cNvSpPr/>
          <p:nvPr/>
        </p:nvSpPr>
        <p:spPr>
          <a:xfrm>
            <a:off x="343362" y="2959935"/>
            <a:ext cx="2747010" cy="412319"/>
          </a:xfrm>
          <a:prstGeom prst="homePlate">
            <a:avLst>
              <a:gd name="adj" fmla="val 0"/>
            </a:avLst>
          </a:prstGeom>
          <a:solidFill>
            <a:srgbClr val="013D7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8"/>
            <a:r>
              <a:rPr lang="en-A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mpaign vaccinator</a:t>
            </a:r>
          </a:p>
        </p:txBody>
      </p:sp>
      <p:sp>
        <p:nvSpPr>
          <p:cNvPr id="3" name="Arrow: Pentagon 14">
            <a:extLst>
              <a:ext uri="{FF2B5EF4-FFF2-40B4-BE49-F238E27FC236}">
                <a16:creationId xmlns:a16="http://schemas.microsoft.com/office/drawing/2014/main" id="{9C7BC4D3-6263-DD99-F3BF-2B8B306B756A}"/>
              </a:ext>
            </a:extLst>
          </p:cNvPr>
          <p:cNvSpPr/>
          <p:nvPr/>
        </p:nvSpPr>
        <p:spPr>
          <a:xfrm>
            <a:off x="343362" y="3372254"/>
            <a:ext cx="2747010" cy="1102470"/>
          </a:xfrm>
          <a:prstGeom prst="homePlate">
            <a:avLst>
              <a:gd name="adj" fmla="val 0"/>
            </a:avLst>
          </a:prstGeom>
          <a:solidFill>
            <a:srgbClr val="013D79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43" indent="-285743" defTabSz="914378">
              <a:buFont typeface="Arial" panose="020B0604020202020204" pitchFamily="34" charset="0"/>
              <a:buChar char="•"/>
            </a:pPr>
            <a:r>
              <a:rPr lang="en-AU" sz="1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and-driven</a:t>
            </a:r>
          </a:p>
          <a:p>
            <a:pPr marL="285743" indent="-285743" defTabSz="914378">
              <a:buFont typeface="Arial" panose="020B0604020202020204" pitchFamily="34" charset="0"/>
              <a:buChar char="•"/>
            </a:pPr>
            <a:r>
              <a:rPr lang="en-AU" sz="1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ed on specific antigen(s)</a:t>
            </a:r>
          </a:p>
        </p:txBody>
      </p:sp>
      <p:sp>
        <p:nvSpPr>
          <p:cNvPr id="6" name="Arrow: Pentagon 3">
            <a:extLst>
              <a:ext uri="{FF2B5EF4-FFF2-40B4-BE49-F238E27FC236}">
                <a16:creationId xmlns:a16="http://schemas.microsoft.com/office/drawing/2014/main" id="{310276DE-A364-126C-97B6-626E02897DFB}"/>
              </a:ext>
            </a:extLst>
          </p:cNvPr>
          <p:cNvSpPr/>
          <p:nvPr/>
        </p:nvSpPr>
        <p:spPr>
          <a:xfrm>
            <a:off x="5406421" y="2159432"/>
            <a:ext cx="2747010" cy="412319"/>
          </a:xfrm>
          <a:prstGeom prst="homePlate">
            <a:avLst>
              <a:gd name="adj" fmla="val 0"/>
            </a:avLst>
          </a:prstGeom>
          <a:solidFill>
            <a:srgbClr val="013D7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8"/>
            <a:r>
              <a:rPr lang="en-A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ole-of-life vaccinator</a:t>
            </a:r>
          </a:p>
        </p:txBody>
      </p:sp>
      <p:sp>
        <p:nvSpPr>
          <p:cNvPr id="7" name="Arrow: Pentagon 14">
            <a:extLst>
              <a:ext uri="{FF2B5EF4-FFF2-40B4-BE49-F238E27FC236}">
                <a16:creationId xmlns:a16="http://schemas.microsoft.com/office/drawing/2014/main" id="{13AEFE3C-F2F3-7A5D-3027-1B3F16EDFD70}"/>
              </a:ext>
            </a:extLst>
          </p:cNvPr>
          <p:cNvSpPr/>
          <p:nvPr/>
        </p:nvSpPr>
        <p:spPr>
          <a:xfrm>
            <a:off x="5406421" y="2571751"/>
            <a:ext cx="2747010" cy="1902973"/>
          </a:xfrm>
          <a:prstGeom prst="homePlate">
            <a:avLst>
              <a:gd name="adj" fmla="val 0"/>
            </a:avLst>
          </a:prstGeom>
          <a:solidFill>
            <a:srgbClr val="013D79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43" indent="-285743" defTabSz="914378">
              <a:buFont typeface="Arial" panose="020B0604020202020204" pitchFamily="34" charset="0"/>
              <a:buChar char="•"/>
            </a:pPr>
            <a:r>
              <a:rPr lang="en-AU" sz="1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active offer of vaccination</a:t>
            </a:r>
          </a:p>
          <a:p>
            <a:pPr marL="285743" indent="-285743" defTabSz="914378">
              <a:buFont typeface="Arial" panose="020B0604020202020204" pitchFamily="34" charset="0"/>
              <a:buChar char="•"/>
            </a:pPr>
            <a:r>
              <a:rPr lang="en-AU" sz="1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eration of all required, routine and recommended vaccines</a:t>
            </a:r>
          </a:p>
          <a:p>
            <a:pPr marL="285743" indent="-285743" defTabSz="914378">
              <a:buFont typeface="Arial" panose="020B0604020202020204" pitchFamily="34" charset="0"/>
              <a:buChar char="•"/>
            </a:pPr>
            <a:r>
              <a:rPr lang="en-AU" sz="1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ient recall and engagemen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F8F40DC-E410-3F6F-1A1E-FF05EBCFF997}"/>
              </a:ext>
            </a:extLst>
          </p:cNvPr>
          <p:cNvSpPr/>
          <p:nvPr/>
        </p:nvSpPr>
        <p:spPr>
          <a:xfrm>
            <a:off x="4866876" y="2159432"/>
            <a:ext cx="412319" cy="41231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711E767-0DCE-9BA7-4D37-1F5648590005}"/>
              </a:ext>
            </a:extLst>
          </p:cNvPr>
          <p:cNvSpPr/>
          <p:nvPr/>
        </p:nvSpPr>
        <p:spPr>
          <a:xfrm>
            <a:off x="4454557" y="2365591"/>
            <a:ext cx="412319" cy="41231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D53C60-0424-615D-9D74-7D6ECFF74961}"/>
              </a:ext>
            </a:extLst>
          </p:cNvPr>
          <p:cNvSpPr/>
          <p:nvPr/>
        </p:nvSpPr>
        <p:spPr>
          <a:xfrm>
            <a:off x="4042238" y="2563706"/>
            <a:ext cx="412319" cy="41231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1520C19-A005-1BC2-84DE-740EA26C9117}"/>
              </a:ext>
            </a:extLst>
          </p:cNvPr>
          <p:cNvSpPr/>
          <p:nvPr/>
        </p:nvSpPr>
        <p:spPr>
          <a:xfrm>
            <a:off x="3629919" y="2761821"/>
            <a:ext cx="412319" cy="41231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95AE5DC-4F58-EDEC-BE71-5588D12093BB}"/>
              </a:ext>
            </a:extLst>
          </p:cNvPr>
          <p:cNvSpPr/>
          <p:nvPr/>
        </p:nvSpPr>
        <p:spPr>
          <a:xfrm>
            <a:off x="3217600" y="2959936"/>
            <a:ext cx="412319" cy="41231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54A8773-92FB-9B67-261B-7D0EEE646DE2}"/>
              </a:ext>
            </a:extLst>
          </p:cNvPr>
          <p:cNvSpPr/>
          <p:nvPr/>
        </p:nvSpPr>
        <p:spPr>
          <a:xfrm>
            <a:off x="3217600" y="2976025"/>
            <a:ext cx="2061595" cy="149869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596D7A5-45EF-30BC-E531-58C733FA6CDC}"/>
              </a:ext>
            </a:extLst>
          </p:cNvPr>
          <p:cNvSpPr/>
          <p:nvPr/>
        </p:nvSpPr>
        <p:spPr>
          <a:xfrm>
            <a:off x="4454556" y="2571751"/>
            <a:ext cx="824638" cy="116166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EA6AACB-4DB5-5464-40C7-79252587764D}"/>
              </a:ext>
            </a:extLst>
          </p:cNvPr>
          <p:cNvSpPr txBox="1"/>
          <p:nvPr/>
        </p:nvSpPr>
        <p:spPr>
          <a:xfrm rot="5400000">
            <a:off x="4598818" y="2453023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/>
            <a:r>
              <a:rPr lang="en-A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PVIP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545D7E-EEEB-E6A6-7771-2520541BE4A3}"/>
              </a:ext>
            </a:extLst>
          </p:cNvPr>
          <p:cNvSpPr txBox="1"/>
          <p:nvPr/>
        </p:nvSpPr>
        <p:spPr>
          <a:xfrm rot="5400000">
            <a:off x="3757140" y="3113232"/>
            <a:ext cx="18646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/>
            <a:r>
              <a:rPr lang="en-A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y trus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508D7E1-ECCC-9142-5105-BE1D4E10F58D}"/>
              </a:ext>
            </a:extLst>
          </p:cNvPr>
          <p:cNvSpPr txBox="1"/>
          <p:nvPr/>
        </p:nvSpPr>
        <p:spPr>
          <a:xfrm rot="5400000">
            <a:off x="3556344" y="2861850"/>
            <a:ext cx="5693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/>
            <a:r>
              <a:rPr lang="en-A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8A7E31-543A-8432-DD27-94353999AA10}"/>
              </a:ext>
            </a:extLst>
          </p:cNvPr>
          <p:cNvSpPr txBox="1"/>
          <p:nvPr/>
        </p:nvSpPr>
        <p:spPr>
          <a:xfrm rot="5400000">
            <a:off x="2775839" y="3444684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/>
            <a:r>
              <a:rPr lang="en-A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enc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C21B0D6-25F3-068E-6361-19E874BC5B38}"/>
              </a:ext>
            </a:extLst>
          </p:cNvPr>
          <p:cNvSpPr txBox="1"/>
          <p:nvPr/>
        </p:nvSpPr>
        <p:spPr>
          <a:xfrm rot="5400000">
            <a:off x="3287112" y="3369055"/>
            <a:ext cx="1980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/>
            <a:r>
              <a:rPr lang="en-A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ulary growth</a:t>
            </a:r>
          </a:p>
        </p:txBody>
      </p:sp>
    </p:spTree>
    <p:extLst>
      <p:ext uri="{BB962C8B-B14F-4D97-AF65-F5344CB8AC3E}">
        <p14:creationId xmlns:p14="http://schemas.microsoft.com/office/powerpoint/2010/main" val="7179753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8907584-403A-3494-D762-9536CAA99A1D}"/>
              </a:ext>
            </a:extLst>
          </p:cNvPr>
          <p:cNvSpPr>
            <a:spLocks noGrp="1"/>
          </p:cNvSpPr>
          <p:nvPr>
            <p:ph sz="half" idx="10"/>
          </p:nvPr>
        </p:nvSpPr>
        <p:spPr/>
        <p:txBody>
          <a:bodyPr/>
          <a:lstStyle/>
          <a:p>
            <a:endParaRPr lang="en-AU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04CE307F-734C-08B5-82C2-978FD9500B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2345"/>
            <a:ext cx="9153611" cy="5205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34731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0B56DA-F72F-F4B3-852F-48E34E31FE39}"/>
              </a:ext>
            </a:extLst>
          </p:cNvPr>
          <p:cNvSpPr>
            <a:spLocks noGrp="1"/>
          </p:cNvSpPr>
          <p:nvPr>
            <p:ph sz="half" idx="10"/>
          </p:nvPr>
        </p:nvSpPr>
        <p:spPr/>
        <p:txBody>
          <a:bodyPr/>
          <a:lstStyle/>
          <a:p>
            <a:endParaRPr lang="en-AU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91443E57-33DC-D093-6CEC-047861D1EF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96982"/>
            <a:ext cx="9185400" cy="5240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74278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9D2A5738-B1E6-0A23-B667-26252DB81A67}"/>
              </a:ext>
            </a:extLst>
          </p:cNvPr>
          <p:cNvSpPr/>
          <p:nvPr/>
        </p:nvSpPr>
        <p:spPr>
          <a:xfrm>
            <a:off x="2165384" y="894486"/>
            <a:ext cx="7048359" cy="3508595"/>
          </a:xfrm>
          <a:custGeom>
            <a:avLst/>
            <a:gdLst>
              <a:gd name="connsiteX0" fmla="*/ 7622730 w 7622730"/>
              <a:gd name="connsiteY0" fmla="*/ 0 h 5296930"/>
              <a:gd name="connsiteX1" fmla="*/ 7111984 w 7622730"/>
              <a:gd name="connsiteY1" fmla="*/ 263611 h 5296930"/>
              <a:gd name="connsiteX2" fmla="*/ 7219075 w 7622730"/>
              <a:gd name="connsiteY2" fmla="*/ 1301579 h 5296930"/>
              <a:gd name="connsiteX3" fmla="*/ 6873086 w 7622730"/>
              <a:gd name="connsiteY3" fmla="*/ 2364260 h 5296930"/>
              <a:gd name="connsiteX4" fmla="*/ 4970146 w 7622730"/>
              <a:gd name="connsiteY4" fmla="*/ 3245709 h 5296930"/>
              <a:gd name="connsiteX5" fmla="*/ 2910686 w 7622730"/>
              <a:gd name="connsiteY5" fmla="*/ 2891482 h 5296930"/>
              <a:gd name="connsiteX6" fmla="*/ 2210470 w 7622730"/>
              <a:gd name="connsiteY6" fmla="*/ 2232454 h 5296930"/>
              <a:gd name="connsiteX7" fmla="*/ 233389 w 7622730"/>
              <a:gd name="connsiteY7" fmla="*/ 2627871 h 5296930"/>
              <a:gd name="connsiteX8" fmla="*/ 216913 w 7622730"/>
              <a:gd name="connsiteY8" fmla="*/ 4283676 h 5296930"/>
              <a:gd name="connsiteX9" fmla="*/ 1839767 w 7622730"/>
              <a:gd name="connsiteY9" fmla="*/ 4629665 h 5296930"/>
              <a:gd name="connsiteX10" fmla="*/ 5316135 w 7622730"/>
              <a:gd name="connsiteY10" fmla="*/ 4473146 h 5296930"/>
              <a:gd name="connsiteX11" fmla="*/ 6535335 w 7622730"/>
              <a:gd name="connsiteY11" fmla="*/ 5296930 h 5296930"/>
              <a:gd name="connsiteX0" fmla="*/ 7669147 w 7669147"/>
              <a:gd name="connsiteY0" fmla="*/ 0 h 5296930"/>
              <a:gd name="connsiteX1" fmla="*/ 7158401 w 7669147"/>
              <a:gd name="connsiteY1" fmla="*/ 263611 h 5296930"/>
              <a:gd name="connsiteX2" fmla="*/ 7265492 w 7669147"/>
              <a:gd name="connsiteY2" fmla="*/ 1301579 h 5296930"/>
              <a:gd name="connsiteX3" fmla="*/ 6919503 w 7669147"/>
              <a:gd name="connsiteY3" fmla="*/ 2364260 h 5296930"/>
              <a:gd name="connsiteX4" fmla="*/ 5016563 w 7669147"/>
              <a:gd name="connsiteY4" fmla="*/ 3245709 h 5296930"/>
              <a:gd name="connsiteX5" fmla="*/ 2957103 w 7669147"/>
              <a:gd name="connsiteY5" fmla="*/ 2891482 h 5296930"/>
              <a:gd name="connsiteX6" fmla="*/ 279806 w 7669147"/>
              <a:gd name="connsiteY6" fmla="*/ 2627871 h 5296930"/>
              <a:gd name="connsiteX7" fmla="*/ 263330 w 7669147"/>
              <a:gd name="connsiteY7" fmla="*/ 4283676 h 5296930"/>
              <a:gd name="connsiteX8" fmla="*/ 1886184 w 7669147"/>
              <a:gd name="connsiteY8" fmla="*/ 4629665 h 5296930"/>
              <a:gd name="connsiteX9" fmla="*/ 5362552 w 7669147"/>
              <a:gd name="connsiteY9" fmla="*/ 4473146 h 5296930"/>
              <a:gd name="connsiteX10" fmla="*/ 6581752 w 7669147"/>
              <a:gd name="connsiteY10" fmla="*/ 5296930 h 5296930"/>
              <a:gd name="connsiteX0" fmla="*/ 7482499 w 7482499"/>
              <a:gd name="connsiteY0" fmla="*/ 0 h 5296930"/>
              <a:gd name="connsiteX1" fmla="*/ 6971753 w 7482499"/>
              <a:gd name="connsiteY1" fmla="*/ 263611 h 5296930"/>
              <a:gd name="connsiteX2" fmla="*/ 7078844 w 7482499"/>
              <a:gd name="connsiteY2" fmla="*/ 1301579 h 5296930"/>
              <a:gd name="connsiteX3" fmla="*/ 6732855 w 7482499"/>
              <a:gd name="connsiteY3" fmla="*/ 2364260 h 5296930"/>
              <a:gd name="connsiteX4" fmla="*/ 4829915 w 7482499"/>
              <a:gd name="connsiteY4" fmla="*/ 3245709 h 5296930"/>
              <a:gd name="connsiteX5" fmla="*/ 2770455 w 7482499"/>
              <a:gd name="connsiteY5" fmla="*/ 2891482 h 5296930"/>
              <a:gd name="connsiteX6" fmla="*/ 521526 w 7482499"/>
              <a:gd name="connsiteY6" fmla="*/ 2026509 h 5296930"/>
              <a:gd name="connsiteX7" fmla="*/ 76682 w 7482499"/>
              <a:gd name="connsiteY7" fmla="*/ 4283676 h 5296930"/>
              <a:gd name="connsiteX8" fmla="*/ 1699536 w 7482499"/>
              <a:gd name="connsiteY8" fmla="*/ 4629665 h 5296930"/>
              <a:gd name="connsiteX9" fmla="*/ 5175904 w 7482499"/>
              <a:gd name="connsiteY9" fmla="*/ 4473146 h 5296930"/>
              <a:gd name="connsiteX10" fmla="*/ 6395104 w 7482499"/>
              <a:gd name="connsiteY10" fmla="*/ 5296930 h 5296930"/>
              <a:gd name="connsiteX0" fmla="*/ 7562696 w 7562696"/>
              <a:gd name="connsiteY0" fmla="*/ 0 h 5296930"/>
              <a:gd name="connsiteX1" fmla="*/ 7051950 w 7562696"/>
              <a:gd name="connsiteY1" fmla="*/ 263611 h 5296930"/>
              <a:gd name="connsiteX2" fmla="*/ 7159041 w 7562696"/>
              <a:gd name="connsiteY2" fmla="*/ 1301579 h 5296930"/>
              <a:gd name="connsiteX3" fmla="*/ 6813052 w 7562696"/>
              <a:gd name="connsiteY3" fmla="*/ 2364260 h 5296930"/>
              <a:gd name="connsiteX4" fmla="*/ 4910112 w 7562696"/>
              <a:gd name="connsiteY4" fmla="*/ 3245709 h 5296930"/>
              <a:gd name="connsiteX5" fmla="*/ 601723 w 7562696"/>
              <a:gd name="connsiteY5" fmla="*/ 2026509 h 5296930"/>
              <a:gd name="connsiteX6" fmla="*/ 156879 w 7562696"/>
              <a:gd name="connsiteY6" fmla="*/ 4283676 h 5296930"/>
              <a:gd name="connsiteX7" fmla="*/ 1779733 w 7562696"/>
              <a:gd name="connsiteY7" fmla="*/ 4629665 h 5296930"/>
              <a:gd name="connsiteX8" fmla="*/ 5256101 w 7562696"/>
              <a:gd name="connsiteY8" fmla="*/ 4473146 h 5296930"/>
              <a:gd name="connsiteX9" fmla="*/ 6475301 w 7562696"/>
              <a:gd name="connsiteY9" fmla="*/ 5296930 h 5296930"/>
              <a:gd name="connsiteX0" fmla="*/ 7562696 w 7562696"/>
              <a:gd name="connsiteY0" fmla="*/ 0 h 5461687"/>
              <a:gd name="connsiteX1" fmla="*/ 7051950 w 7562696"/>
              <a:gd name="connsiteY1" fmla="*/ 263611 h 5461687"/>
              <a:gd name="connsiteX2" fmla="*/ 7159041 w 7562696"/>
              <a:gd name="connsiteY2" fmla="*/ 1301579 h 5461687"/>
              <a:gd name="connsiteX3" fmla="*/ 6813052 w 7562696"/>
              <a:gd name="connsiteY3" fmla="*/ 2364260 h 5461687"/>
              <a:gd name="connsiteX4" fmla="*/ 4910112 w 7562696"/>
              <a:gd name="connsiteY4" fmla="*/ 3245709 h 5461687"/>
              <a:gd name="connsiteX5" fmla="*/ 601723 w 7562696"/>
              <a:gd name="connsiteY5" fmla="*/ 2026509 h 5461687"/>
              <a:gd name="connsiteX6" fmla="*/ 156879 w 7562696"/>
              <a:gd name="connsiteY6" fmla="*/ 4283676 h 5461687"/>
              <a:gd name="connsiteX7" fmla="*/ 1779733 w 7562696"/>
              <a:gd name="connsiteY7" fmla="*/ 4629665 h 5461687"/>
              <a:gd name="connsiteX8" fmla="*/ 5256101 w 7562696"/>
              <a:gd name="connsiteY8" fmla="*/ 4473146 h 5461687"/>
              <a:gd name="connsiteX9" fmla="*/ 5692706 w 7562696"/>
              <a:gd name="connsiteY9" fmla="*/ 5461687 h 5461687"/>
              <a:gd name="connsiteX0" fmla="*/ 7462659 w 7462659"/>
              <a:gd name="connsiteY0" fmla="*/ 0 h 5461687"/>
              <a:gd name="connsiteX1" fmla="*/ 6951913 w 7462659"/>
              <a:gd name="connsiteY1" fmla="*/ 263611 h 5461687"/>
              <a:gd name="connsiteX2" fmla="*/ 7059004 w 7462659"/>
              <a:gd name="connsiteY2" fmla="*/ 1301579 h 5461687"/>
              <a:gd name="connsiteX3" fmla="*/ 6713015 w 7462659"/>
              <a:gd name="connsiteY3" fmla="*/ 2364260 h 5461687"/>
              <a:gd name="connsiteX4" fmla="*/ 4810075 w 7462659"/>
              <a:gd name="connsiteY4" fmla="*/ 3245709 h 5461687"/>
              <a:gd name="connsiteX5" fmla="*/ 3595579 w 7462659"/>
              <a:gd name="connsiteY5" fmla="*/ 1636850 h 5461687"/>
              <a:gd name="connsiteX6" fmla="*/ 56842 w 7462659"/>
              <a:gd name="connsiteY6" fmla="*/ 4283676 h 5461687"/>
              <a:gd name="connsiteX7" fmla="*/ 1679696 w 7462659"/>
              <a:gd name="connsiteY7" fmla="*/ 4629665 h 5461687"/>
              <a:gd name="connsiteX8" fmla="*/ 5156064 w 7462659"/>
              <a:gd name="connsiteY8" fmla="*/ 4473146 h 5461687"/>
              <a:gd name="connsiteX9" fmla="*/ 5592669 w 7462659"/>
              <a:gd name="connsiteY9" fmla="*/ 5461687 h 5461687"/>
              <a:gd name="connsiteX0" fmla="*/ 7592209 w 7592209"/>
              <a:gd name="connsiteY0" fmla="*/ 0 h 5461687"/>
              <a:gd name="connsiteX1" fmla="*/ 7081463 w 7592209"/>
              <a:gd name="connsiteY1" fmla="*/ 263611 h 5461687"/>
              <a:gd name="connsiteX2" fmla="*/ 7188554 w 7592209"/>
              <a:gd name="connsiteY2" fmla="*/ 1301579 h 5461687"/>
              <a:gd name="connsiteX3" fmla="*/ 6842565 w 7592209"/>
              <a:gd name="connsiteY3" fmla="*/ 2364260 h 5461687"/>
              <a:gd name="connsiteX4" fmla="*/ 4939625 w 7592209"/>
              <a:gd name="connsiteY4" fmla="*/ 3245709 h 5461687"/>
              <a:gd name="connsiteX5" fmla="*/ 3725129 w 7592209"/>
              <a:gd name="connsiteY5" fmla="*/ 1636850 h 5461687"/>
              <a:gd name="connsiteX6" fmla="*/ 186392 w 7592209"/>
              <a:gd name="connsiteY6" fmla="*/ 4283676 h 5461687"/>
              <a:gd name="connsiteX7" fmla="*/ 630697 w 7592209"/>
              <a:gd name="connsiteY7" fmla="*/ 3047532 h 5461687"/>
              <a:gd name="connsiteX8" fmla="*/ 1809246 w 7592209"/>
              <a:gd name="connsiteY8" fmla="*/ 4629665 h 5461687"/>
              <a:gd name="connsiteX9" fmla="*/ 5285614 w 7592209"/>
              <a:gd name="connsiteY9" fmla="*/ 4473146 h 5461687"/>
              <a:gd name="connsiteX10" fmla="*/ 5722219 w 7592209"/>
              <a:gd name="connsiteY10" fmla="*/ 5461687 h 5461687"/>
              <a:gd name="connsiteX0" fmla="*/ 7816156 w 7816156"/>
              <a:gd name="connsiteY0" fmla="*/ 0 h 5461687"/>
              <a:gd name="connsiteX1" fmla="*/ 7305410 w 7816156"/>
              <a:gd name="connsiteY1" fmla="*/ 263611 h 5461687"/>
              <a:gd name="connsiteX2" fmla="*/ 7412501 w 7816156"/>
              <a:gd name="connsiteY2" fmla="*/ 1301579 h 5461687"/>
              <a:gd name="connsiteX3" fmla="*/ 7066512 w 7816156"/>
              <a:gd name="connsiteY3" fmla="*/ 2364260 h 5461687"/>
              <a:gd name="connsiteX4" fmla="*/ 5163572 w 7816156"/>
              <a:gd name="connsiteY4" fmla="*/ 3245709 h 5461687"/>
              <a:gd name="connsiteX5" fmla="*/ 3949076 w 7816156"/>
              <a:gd name="connsiteY5" fmla="*/ 1636850 h 5461687"/>
              <a:gd name="connsiteX6" fmla="*/ 410339 w 7816156"/>
              <a:gd name="connsiteY6" fmla="*/ 4283676 h 5461687"/>
              <a:gd name="connsiteX7" fmla="*/ 254569 w 7816156"/>
              <a:gd name="connsiteY7" fmla="*/ 4473685 h 5461687"/>
              <a:gd name="connsiteX8" fmla="*/ 2033193 w 7816156"/>
              <a:gd name="connsiteY8" fmla="*/ 4629665 h 5461687"/>
              <a:gd name="connsiteX9" fmla="*/ 5509561 w 7816156"/>
              <a:gd name="connsiteY9" fmla="*/ 4473146 h 5461687"/>
              <a:gd name="connsiteX10" fmla="*/ 5946166 w 7816156"/>
              <a:gd name="connsiteY10" fmla="*/ 5461687 h 5461687"/>
              <a:gd name="connsiteX0" fmla="*/ 7875467 w 7875467"/>
              <a:gd name="connsiteY0" fmla="*/ 0 h 5461687"/>
              <a:gd name="connsiteX1" fmla="*/ 7364721 w 7875467"/>
              <a:gd name="connsiteY1" fmla="*/ 263611 h 5461687"/>
              <a:gd name="connsiteX2" fmla="*/ 7471812 w 7875467"/>
              <a:gd name="connsiteY2" fmla="*/ 1301579 h 5461687"/>
              <a:gd name="connsiteX3" fmla="*/ 7125823 w 7875467"/>
              <a:gd name="connsiteY3" fmla="*/ 2364260 h 5461687"/>
              <a:gd name="connsiteX4" fmla="*/ 5222883 w 7875467"/>
              <a:gd name="connsiteY4" fmla="*/ 3245709 h 5461687"/>
              <a:gd name="connsiteX5" fmla="*/ 4008387 w 7875467"/>
              <a:gd name="connsiteY5" fmla="*/ 1636850 h 5461687"/>
              <a:gd name="connsiteX6" fmla="*/ 469650 w 7875467"/>
              <a:gd name="connsiteY6" fmla="*/ 4283676 h 5461687"/>
              <a:gd name="connsiteX7" fmla="*/ 212569 w 7875467"/>
              <a:gd name="connsiteY7" fmla="*/ 4847757 h 5461687"/>
              <a:gd name="connsiteX8" fmla="*/ 2092504 w 7875467"/>
              <a:gd name="connsiteY8" fmla="*/ 4629665 h 5461687"/>
              <a:gd name="connsiteX9" fmla="*/ 5568872 w 7875467"/>
              <a:gd name="connsiteY9" fmla="*/ 4473146 h 5461687"/>
              <a:gd name="connsiteX10" fmla="*/ 6005477 w 7875467"/>
              <a:gd name="connsiteY10" fmla="*/ 5461687 h 5461687"/>
              <a:gd name="connsiteX0" fmla="*/ 7702070 w 7702070"/>
              <a:gd name="connsiteY0" fmla="*/ 0 h 5461687"/>
              <a:gd name="connsiteX1" fmla="*/ 7191324 w 7702070"/>
              <a:gd name="connsiteY1" fmla="*/ 263611 h 5461687"/>
              <a:gd name="connsiteX2" fmla="*/ 7298415 w 7702070"/>
              <a:gd name="connsiteY2" fmla="*/ 1301579 h 5461687"/>
              <a:gd name="connsiteX3" fmla="*/ 6952426 w 7702070"/>
              <a:gd name="connsiteY3" fmla="*/ 2364260 h 5461687"/>
              <a:gd name="connsiteX4" fmla="*/ 5049486 w 7702070"/>
              <a:gd name="connsiteY4" fmla="*/ 3245709 h 5461687"/>
              <a:gd name="connsiteX5" fmla="*/ 3834990 w 7702070"/>
              <a:gd name="connsiteY5" fmla="*/ 1636850 h 5461687"/>
              <a:gd name="connsiteX6" fmla="*/ 1597715 w 7702070"/>
              <a:gd name="connsiteY6" fmla="*/ 2140551 h 5461687"/>
              <a:gd name="connsiteX7" fmla="*/ 39172 w 7702070"/>
              <a:gd name="connsiteY7" fmla="*/ 4847757 h 5461687"/>
              <a:gd name="connsiteX8" fmla="*/ 1919107 w 7702070"/>
              <a:gd name="connsiteY8" fmla="*/ 4629665 h 5461687"/>
              <a:gd name="connsiteX9" fmla="*/ 5395475 w 7702070"/>
              <a:gd name="connsiteY9" fmla="*/ 4473146 h 5461687"/>
              <a:gd name="connsiteX10" fmla="*/ 5832080 w 7702070"/>
              <a:gd name="connsiteY10" fmla="*/ 5461687 h 5461687"/>
              <a:gd name="connsiteX0" fmla="*/ 6568065 w 6568065"/>
              <a:gd name="connsiteY0" fmla="*/ 0 h 5461687"/>
              <a:gd name="connsiteX1" fmla="*/ 6057319 w 6568065"/>
              <a:gd name="connsiteY1" fmla="*/ 263611 h 5461687"/>
              <a:gd name="connsiteX2" fmla="*/ 6164410 w 6568065"/>
              <a:gd name="connsiteY2" fmla="*/ 1301579 h 5461687"/>
              <a:gd name="connsiteX3" fmla="*/ 5818421 w 6568065"/>
              <a:gd name="connsiteY3" fmla="*/ 2364260 h 5461687"/>
              <a:gd name="connsiteX4" fmla="*/ 3915481 w 6568065"/>
              <a:gd name="connsiteY4" fmla="*/ 3245709 h 5461687"/>
              <a:gd name="connsiteX5" fmla="*/ 2700985 w 6568065"/>
              <a:gd name="connsiteY5" fmla="*/ 1636850 h 5461687"/>
              <a:gd name="connsiteX6" fmla="*/ 463710 w 6568065"/>
              <a:gd name="connsiteY6" fmla="*/ 2140551 h 5461687"/>
              <a:gd name="connsiteX7" fmla="*/ 128697 w 6568065"/>
              <a:gd name="connsiteY7" fmla="*/ 4239889 h 5461687"/>
              <a:gd name="connsiteX8" fmla="*/ 785102 w 6568065"/>
              <a:gd name="connsiteY8" fmla="*/ 4629665 h 5461687"/>
              <a:gd name="connsiteX9" fmla="*/ 4261470 w 6568065"/>
              <a:gd name="connsiteY9" fmla="*/ 4473146 h 5461687"/>
              <a:gd name="connsiteX10" fmla="*/ 4698075 w 6568065"/>
              <a:gd name="connsiteY10" fmla="*/ 5461687 h 5461687"/>
              <a:gd name="connsiteX0" fmla="*/ 6568065 w 6568065"/>
              <a:gd name="connsiteY0" fmla="*/ 0 h 5461687"/>
              <a:gd name="connsiteX1" fmla="*/ 6057319 w 6568065"/>
              <a:gd name="connsiteY1" fmla="*/ 263611 h 5461687"/>
              <a:gd name="connsiteX2" fmla="*/ 6164410 w 6568065"/>
              <a:gd name="connsiteY2" fmla="*/ 1301579 h 5461687"/>
              <a:gd name="connsiteX3" fmla="*/ 5818421 w 6568065"/>
              <a:gd name="connsiteY3" fmla="*/ 2364260 h 5461687"/>
              <a:gd name="connsiteX4" fmla="*/ 3915481 w 6568065"/>
              <a:gd name="connsiteY4" fmla="*/ 3245709 h 5461687"/>
              <a:gd name="connsiteX5" fmla="*/ 2700985 w 6568065"/>
              <a:gd name="connsiteY5" fmla="*/ 1636850 h 5461687"/>
              <a:gd name="connsiteX6" fmla="*/ 463710 w 6568065"/>
              <a:gd name="connsiteY6" fmla="*/ 2140551 h 5461687"/>
              <a:gd name="connsiteX7" fmla="*/ 128697 w 6568065"/>
              <a:gd name="connsiteY7" fmla="*/ 4239889 h 5461687"/>
              <a:gd name="connsiteX8" fmla="*/ 1081243 w 6568065"/>
              <a:gd name="connsiteY8" fmla="*/ 4341317 h 5461687"/>
              <a:gd name="connsiteX9" fmla="*/ 4261470 w 6568065"/>
              <a:gd name="connsiteY9" fmla="*/ 4473146 h 5461687"/>
              <a:gd name="connsiteX10" fmla="*/ 4698075 w 6568065"/>
              <a:gd name="connsiteY10" fmla="*/ 5461687 h 5461687"/>
              <a:gd name="connsiteX0" fmla="*/ 6568065 w 6568065"/>
              <a:gd name="connsiteY0" fmla="*/ 0 h 5461687"/>
              <a:gd name="connsiteX1" fmla="*/ 6057319 w 6568065"/>
              <a:gd name="connsiteY1" fmla="*/ 263611 h 5461687"/>
              <a:gd name="connsiteX2" fmla="*/ 6164410 w 6568065"/>
              <a:gd name="connsiteY2" fmla="*/ 1301579 h 5461687"/>
              <a:gd name="connsiteX3" fmla="*/ 5818421 w 6568065"/>
              <a:gd name="connsiteY3" fmla="*/ 2364260 h 5461687"/>
              <a:gd name="connsiteX4" fmla="*/ 3915481 w 6568065"/>
              <a:gd name="connsiteY4" fmla="*/ 3245709 h 5461687"/>
              <a:gd name="connsiteX5" fmla="*/ 2700985 w 6568065"/>
              <a:gd name="connsiteY5" fmla="*/ 1636850 h 5461687"/>
              <a:gd name="connsiteX6" fmla="*/ 463710 w 6568065"/>
              <a:gd name="connsiteY6" fmla="*/ 2140551 h 5461687"/>
              <a:gd name="connsiteX7" fmla="*/ 128697 w 6568065"/>
              <a:gd name="connsiteY7" fmla="*/ 4239889 h 5461687"/>
              <a:gd name="connsiteX8" fmla="*/ 1081243 w 6568065"/>
              <a:gd name="connsiteY8" fmla="*/ 4341317 h 5461687"/>
              <a:gd name="connsiteX9" fmla="*/ 2170510 w 6568065"/>
              <a:gd name="connsiteY9" fmla="*/ 4372373 h 5461687"/>
              <a:gd name="connsiteX10" fmla="*/ 4261470 w 6568065"/>
              <a:gd name="connsiteY10" fmla="*/ 4473146 h 5461687"/>
              <a:gd name="connsiteX11" fmla="*/ 4698075 w 6568065"/>
              <a:gd name="connsiteY11" fmla="*/ 5461687 h 5461687"/>
              <a:gd name="connsiteX0" fmla="*/ 6568065 w 6568065"/>
              <a:gd name="connsiteY0" fmla="*/ 0 h 5461687"/>
              <a:gd name="connsiteX1" fmla="*/ 6057319 w 6568065"/>
              <a:gd name="connsiteY1" fmla="*/ 263611 h 5461687"/>
              <a:gd name="connsiteX2" fmla="*/ 6164410 w 6568065"/>
              <a:gd name="connsiteY2" fmla="*/ 1301579 h 5461687"/>
              <a:gd name="connsiteX3" fmla="*/ 5818421 w 6568065"/>
              <a:gd name="connsiteY3" fmla="*/ 2364260 h 5461687"/>
              <a:gd name="connsiteX4" fmla="*/ 3915481 w 6568065"/>
              <a:gd name="connsiteY4" fmla="*/ 3245709 h 5461687"/>
              <a:gd name="connsiteX5" fmla="*/ 2700985 w 6568065"/>
              <a:gd name="connsiteY5" fmla="*/ 1636850 h 5461687"/>
              <a:gd name="connsiteX6" fmla="*/ 463710 w 6568065"/>
              <a:gd name="connsiteY6" fmla="*/ 2140551 h 5461687"/>
              <a:gd name="connsiteX7" fmla="*/ 128697 w 6568065"/>
              <a:gd name="connsiteY7" fmla="*/ 4239889 h 5461687"/>
              <a:gd name="connsiteX8" fmla="*/ 1081243 w 6568065"/>
              <a:gd name="connsiteY8" fmla="*/ 4341317 h 5461687"/>
              <a:gd name="connsiteX9" fmla="*/ 2334168 w 6568065"/>
              <a:gd name="connsiteY9" fmla="*/ 4013887 h 5461687"/>
              <a:gd name="connsiteX10" fmla="*/ 4261470 w 6568065"/>
              <a:gd name="connsiteY10" fmla="*/ 4473146 h 5461687"/>
              <a:gd name="connsiteX11" fmla="*/ 4698075 w 6568065"/>
              <a:gd name="connsiteY11" fmla="*/ 5461687 h 5461687"/>
              <a:gd name="connsiteX0" fmla="*/ 6568065 w 6568065"/>
              <a:gd name="connsiteY0" fmla="*/ 0 h 5461687"/>
              <a:gd name="connsiteX1" fmla="*/ 6096286 w 6568065"/>
              <a:gd name="connsiteY1" fmla="*/ 2741843 h 5461687"/>
              <a:gd name="connsiteX2" fmla="*/ 6164410 w 6568065"/>
              <a:gd name="connsiteY2" fmla="*/ 1301579 h 5461687"/>
              <a:gd name="connsiteX3" fmla="*/ 5818421 w 6568065"/>
              <a:gd name="connsiteY3" fmla="*/ 2364260 h 5461687"/>
              <a:gd name="connsiteX4" fmla="*/ 3915481 w 6568065"/>
              <a:gd name="connsiteY4" fmla="*/ 3245709 h 5461687"/>
              <a:gd name="connsiteX5" fmla="*/ 2700985 w 6568065"/>
              <a:gd name="connsiteY5" fmla="*/ 1636850 h 5461687"/>
              <a:gd name="connsiteX6" fmla="*/ 463710 w 6568065"/>
              <a:gd name="connsiteY6" fmla="*/ 2140551 h 5461687"/>
              <a:gd name="connsiteX7" fmla="*/ 128697 w 6568065"/>
              <a:gd name="connsiteY7" fmla="*/ 4239889 h 5461687"/>
              <a:gd name="connsiteX8" fmla="*/ 1081243 w 6568065"/>
              <a:gd name="connsiteY8" fmla="*/ 4341317 h 5461687"/>
              <a:gd name="connsiteX9" fmla="*/ 2334168 w 6568065"/>
              <a:gd name="connsiteY9" fmla="*/ 4013887 h 5461687"/>
              <a:gd name="connsiteX10" fmla="*/ 4261470 w 6568065"/>
              <a:gd name="connsiteY10" fmla="*/ 4473146 h 5461687"/>
              <a:gd name="connsiteX11" fmla="*/ 4698075 w 6568065"/>
              <a:gd name="connsiteY11" fmla="*/ 5461687 h 5461687"/>
              <a:gd name="connsiteX0" fmla="*/ 6669377 w 6669377"/>
              <a:gd name="connsiteY0" fmla="*/ 704773 h 4163612"/>
              <a:gd name="connsiteX1" fmla="*/ 6096286 w 6669377"/>
              <a:gd name="connsiteY1" fmla="*/ 1443768 h 4163612"/>
              <a:gd name="connsiteX2" fmla="*/ 6164410 w 6669377"/>
              <a:gd name="connsiteY2" fmla="*/ 3504 h 4163612"/>
              <a:gd name="connsiteX3" fmla="*/ 5818421 w 6669377"/>
              <a:gd name="connsiteY3" fmla="*/ 1066185 h 4163612"/>
              <a:gd name="connsiteX4" fmla="*/ 3915481 w 6669377"/>
              <a:gd name="connsiteY4" fmla="*/ 1947634 h 4163612"/>
              <a:gd name="connsiteX5" fmla="*/ 2700985 w 6669377"/>
              <a:gd name="connsiteY5" fmla="*/ 338775 h 4163612"/>
              <a:gd name="connsiteX6" fmla="*/ 463710 w 6669377"/>
              <a:gd name="connsiteY6" fmla="*/ 842476 h 4163612"/>
              <a:gd name="connsiteX7" fmla="*/ 128697 w 6669377"/>
              <a:gd name="connsiteY7" fmla="*/ 2941814 h 4163612"/>
              <a:gd name="connsiteX8" fmla="*/ 1081243 w 6669377"/>
              <a:gd name="connsiteY8" fmla="*/ 3043242 h 4163612"/>
              <a:gd name="connsiteX9" fmla="*/ 2334168 w 6669377"/>
              <a:gd name="connsiteY9" fmla="*/ 2715812 h 4163612"/>
              <a:gd name="connsiteX10" fmla="*/ 4261470 w 6669377"/>
              <a:gd name="connsiteY10" fmla="*/ 3175071 h 4163612"/>
              <a:gd name="connsiteX11" fmla="*/ 4698075 w 6669377"/>
              <a:gd name="connsiteY11" fmla="*/ 4163612 h 4163612"/>
              <a:gd name="connsiteX0" fmla="*/ 6669377 w 6669377"/>
              <a:gd name="connsiteY0" fmla="*/ 426714 h 3885553"/>
              <a:gd name="connsiteX1" fmla="*/ 6096286 w 6669377"/>
              <a:gd name="connsiteY1" fmla="*/ 1165709 h 3885553"/>
              <a:gd name="connsiteX2" fmla="*/ 4223908 w 6669377"/>
              <a:gd name="connsiteY2" fmla="*/ 1533463 h 3885553"/>
              <a:gd name="connsiteX3" fmla="*/ 5818421 w 6669377"/>
              <a:gd name="connsiteY3" fmla="*/ 788126 h 3885553"/>
              <a:gd name="connsiteX4" fmla="*/ 3915481 w 6669377"/>
              <a:gd name="connsiteY4" fmla="*/ 1669575 h 3885553"/>
              <a:gd name="connsiteX5" fmla="*/ 2700985 w 6669377"/>
              <a:gd name="connsiteY5" fmla="*/ 60716 h 3885553"/>
              <a:gd name="connsiteX6" fmla="*/ 463710 w 6669377"/>
              <a:gd name="connsiteY6" fmla="*/ 564417 h 3885553"/>
              <a:gd name="connsiteX7" fmla="*/ 128697 w 6669377"/>
              <a:gd name="connsiteY7" fmla="*/ 2663755 h 3885553"/>
              <a:gd name="connsiteX8" fmla="*/ 1081243 w 6669377"/>
              <a:gd name="connsiteY8" fmla="*/ 2765183 h 3885553"/>
              <a:gd name="connsiteX9" fmla="*/ 2334168 w 6669377"/>
              <a:gd name="connsiteY9" fmla="*/ 2437753 h 3885553"/>
              <a:gd name="connsiteX10" fmla="*/ 4261470 w 6669377"/>
              <a:gd name="connsiteY10" fmla="*/ 2897012 h 3885553"/>
              <a:gd name="connsiteX11" fmla="*/ 4698075 w 6669377"/>
              <a:gd name="connsiteY11" fmla="*/ 3885553 h 3885553"/>
              <a:gd name="connsiteX0" fmla="*/ 6669377 w 6669377"/>
              <a:gd name="connsiteY0" fmla="*/ 426714 h 3885553"/>
              <a:gd name="connsiteX1" fmla="*/ 6096286 w 6669377"/>
              <a:gd name="connsiteY1" fmla="*/ 1165709 h 3885553"/>
              <a:gd name="connsiteX2" fmla="*/ 4223908 w 6669377"/>
              <a:gd name="connsiteY2" fmla="*/ 1533463 h 3885553"/>
              <a:gd name="connsiteX3" fmla="*/ 3901298 w 6669377"/>
              <a:gd name="connsiteY3" fmla="*/ 1107647 h 3885553"/>
              <a:gd name="connsiteX4" fmla="*/ 3915481 w 6669377"/>
              <a:gd name="connsiteY4" fmla="*/ 1669575 h 3885553"/>
              <a:gd name="connsiteX5" fmla="*/ 2700985 w 6669377"/>
              <a:gd name="connsiteY5" fmla="*/ 60716 h 3885553"/>
              <a:gd name="connsiteX6" fmla="*/ 463710 w 6669377"/>
              <a:gd name="connsiteY6" fmla="*/ 564417 h 3885553"/>
              <a:gd name="connsiteX7" fmla="*/ 128697 w 6669377"/>
              <a:gd name="connsiteY7" fmla="*/ 2663755 h 3885553"/>
              <a:gd name="connsiteX8" fmla="*/ 1081243 w 6669377"/>
              <a:gd name="connsiteY8" fmla="*/ 2765183 h 3885553"/>
              <a:gd name="connsiteX9" fmla="*/ 2334168 w 6669377"/>
              <a:gd name="connsiteY9" fmla="*/ 2437753 h 3885553"/>
              <a:gd name="connsiteX10" fmla="*/ 4261470 w 6669377"/>
              <a:gd name="connsiteY10" fmla="*/ 2897012 h 3885553"/>
              <a:gd name="connsiteX11" fmla="*/ 4698075 w 6669377"/>
              <a:gd name="connsiteY11" fmla="*/ 3885553 h 3885553"/>
              <a:gd name="connsiteX0" fmla="*/ 6669377 w 6669377"/>
              <a:gd name="connsiteY0" fmla="*/ 443696 h 3902535"/>
              <a:gd name="connsiteX1" fmla="*/ 6096286 w 6669377"/>
              <a:gd name="connsiteY1" fmla="*/ 1182691 h 3902535"/>
              <a:gd name="connsiteX2" fmla="*/ 4223908 w 6669377"/>
              <a:gd name="connsiteY2" fmla="*/ 1550445 h 3902535"/>
              <a:gd name="connsiteX3" fmla="*/ 3901298 w 6669377"/>
              <a:gd name="connsiteY3" fmla="*/ 1124629 h 3902535"/>
              <a:gd name="connsiteX4" fmla="*/ 3229681 w 6669377"/>
              <a:gd name="connsiteY4" fmla="*/ 112334 h 3902535"/>
              <a:gd name="connsiteX5" fmla="*/ 2700985 w 6669377"/>
              <a:gd name="connsiteY5" fmla="*/ 77698 h 3902535"/>
              <a:gd name="connsiteX6" fmla="*/ 463710 w 6669377"/>
              <a:gd name="connsiteY6" fmla="*/ 581399 h 3902535"/>
              <a:gd name="connsiteX7" fmla="*/ 128697 w 6669377"/>
              <a:gd name="connsiteY7" fmla="*/ 2680737 h 3902535"/>
              <a:gd name="connsiteX8" fmla="*/ 1081243 w 6669377"/>
              <a:gd name="connsiteY8" fmla="*/ 2782165 h 3902535"/>
              <a:gd name="connsiteX9" fmla="*/ 2334168 w 6669377"/>
              <a:gd name="connsiteY9" fmla="*/ 2454735 h 3902535"/>
              <a:gd name="connsiteX10" fmla="*/ 4261470 w 6669377"/>
              <a:gd name="connsiteY10" fmla="*/ 2913994 h 3902535"/>
              <a:gd name="connsiteX11" fmla="*/ 4698075 w 6669377"/>
              <a:gd name="connsiteY11" fmla="*/ 3902535 h 3902535"/>
              <a:gd name="connsiteX0" fmla="*/ 6677461 w 6677461"/>
              <a:gd name="connsiteY0" fmla="*/ 333650 h 3792489"/>
              <a:gd name="connsiteX1" fmla="*/ 6104370 w 6677461"/>
              <a:gd name="connsiteY1" fmla="*/ 1072645 h 3792489"/>
              <a:gd name="connsiteX2" fmla="*/ 4231992 w 6677461"/>
              <a:gd name="connsiteY2" fmla="*/ 1440399 h 3792489"/>
              <a:gd name="connsiteX3" fmla="*/ 3909382 w 6677461"/>
              <a:gd name="connsiteY3" fmla="*/ 1014583 h 3792489"/>
              <a:gd name="connsiteX4" fmla="*/ 3237765 w 6677461"/>
              <a:gd name="connsiteY4" fmla="*/ 2288 h 3792489"/>
              <a:gd name="connsiteX5" fmla="*/ 2927278 w 6677461"/>
              <a:gd name="connsiteY5" fmla="*/ 731384 h 3792489"/>
              <a:gd name="connsiteX6" fmla="*/ 471794 w 6677461"/>
              <a:gd name="connsiteY6" fmla="*/ 471353 h 3792489"/>
              <a:gd name="connsiteX7" fmla="*/ 136781 w 6677461"/>
              <a:gd name="connsiteY7" fmla="*/ 2570691 h 3792489"/>
              <a:gd name="connsiteX8" fmla="*/ 1089327 w 6677461"/>
              <a:gd name="connsiteY8" fmla="*/ 2672119 h 3792489"/>
              <a:gd name="connsiteX9" fmla="*/ 2342252 w 6677461"/>
              <a:gd name="connsiteY9" fmla="*/ 2344689 h 3792489"/>
              <a:gd name="connsiteX10" fmla="*/ 4269554 w 6677461"/>
              <a:gd name="connsiteY10" fmla="*/ 2803948 h 3792489"/>
              <a:gd name="connsiteX11" fmla="*/ 4706159 w 6677461"/>
              <a:gd name="connsiteY11" fmla="*/ 3792489 h 3792489"/>
              <a:gd name="connsiteX0" fmla="*/ 6569439 w 6569439"/>
              <a:gd name="connsiteY0" fmla="*/ 333458 h 3792297"/>
              <a:gd name="connsiteX1" fmla="*/ 5996348 w 6569439"/>
              <a:gd name="connsiteY1" fmla="*/ 1072453 h 3792297"/>
              <a:gd name="connsiteX2" fmla="*/ 4123970 w 6569439"/>
              <a:gd name="connsiteY2" fmla="*/ 1440207 h 3792297"/>
              <a:gd name="connsiteX3" fmla="*/ 3801360 w 6569439"/>
              <a:gd name="connsiteY3" fmla="*/ 1014391 h 3792297"/>
              <a:gd name="connsiteX4" fmla="*/ 3129743 w 6569439"/>
              <a:gd name="connsiteY4" fmla="*/ 2096 h 3792297"/>
              <a:gd name="connsiteX5" fmla="*/ 2819256 w 6569439"/>
              <a:gd name="connsiteY5" fmla="*/ 731192 h 3792297"/>
              <a:gd name="connsiteX6" fmla="*/ 1937995 w 6569439"/>
              <a:gd name="connsiteY6" fmla="*/ 65915 h 3792297"/>
              <a:gd name="connsiteX7" fmla="*/ 28759 w 6569439"/>
              <a:gd name="connsiteY7" fmla="*/ 2570499 h 3792297"/>
              <a:gd name="connsiteX8" fmla="*/ 981305 w 6569439"/>
              <a:gd name="connsiteY8" fmla="*/ 2671927 h 3792297"/>
              <a:gd name="connsiteX9" fmla="*/ 2234230 w 6569439"/>
              <a:gd name="connsiteY9" fmla="*/ 2344497 h 3792297"/>
              <a:gd name="connsiteX10" fmla="*/ 4161532 w 6569439"/>
              <a:gd name="connsiteY10" fmla="*/ 2803756 h 3792297"/>
              <a:gd name="connsiteX11" fmla="*/ 4598137 w 6569439"/>
              <a:gd name="connsiteY11" fmla="*/ 3792297 h 3792297"/>
              <a:gd name="connsiteX0" fmla="*/ 6571375 w 6571375"/>
              <a:gd name="connsiteY0" fmla="*/ 333458 h 3792297"/>
              <a:gd name="connsiteX1" fmla="*/ 5998284 w 6571375"/>
              <a:gd name="connsiteY1" fmla="*/ 1072453 h 3792297"/>
              <a:gd name="connsiteX2" fmla="*/ 4125906 w 6571375"/>
              <a:gd name="connsiteY2" fmla="*/ 1440207 h 3792297"/>
              <a:gd name="connsiteX3" fmla="*/ 3803296 w 6571375"/>
              <a:gd name="connsiteY3" fmla="*/ 1014391 h 3792297"/>
              <a:gd name="connsiteX4" fmla="*/ 3131679 w 6571375"/>
              <a:gd name="connsiteY4" fmla="*/ 2096 h 3792297"/>
              <a:gd name="connsiteX5" fmla="*/ 2821192 w 6571375"/>
              <a:gd name="connsiteY5" fmla="*/ 731192 h 3792297"/>
              <a:gd name="connsiteX6" fmla="*/ 1939931 w 6571375"/>
              <a:gd name="connsiteY6" fmla="*/ 65915 h 3792297"/>
              <a:gd name="connsiteX7" fmla="*/ 30695 w 6571375"/>
              <a:gd name="connsiteY7" fmla="*/ 2570499 h 3792297"/>
              <a:gd name="connsiteX8" fmla="*/ 983241 w 6571375"/>
              <a:gd name="connsiteY8" fmla="*/ 2671927 h 3792297"/>
              <a:gd name="connsiteX9" fmla="*/ 2236166 w 6571375"/>
              <a:gd name="connsiteY9" fmla="*/ 2344497 h 3792297"/>
              <a:gd name="connsiteX10" fmla="*/ 4163468 w 6571375"/>
              <a:gd name="connsiteY10" fmla="*/ 2803756 h 3792297"/>
              <a:gd name="connsiteX11" fmla="*/ 4600073 w 6571375"/>
              <a:gd name="connsiteY11" fmla="*/ 3792297 h 3792297"/>
              <a:gd name="connsiteX0" fmla="*/ 6568826 w 6568826"/>
              <a:gd name="connsiteY0" fmla="*/ 368685 h 3827524"/>
              <a:gd name="connsiteX1" fmla="*/ 5995735 w 6568826"/>
              <a:gd name="connsiteY1" fmla="*/ 1107680 h 3827524"/>
              <a:gd name="connsiteX2" fmla="*/ 4123357 w 6568826"/>
              <a:gd name="connsiteY2" fmla="*/ 1475434 h 3827524"/>
              <a:gd name="connsiteX3" fmla="*/ 3800747 w 6568826"/>
              <a:gd name="connsiteY3" fmla="*/ 1049618 h 3827524"/>
              <a:gd name="connsiteX4" fmla="*/ 3129130 w 6568826"/>
              <a:gd name="connsiteY4" fmla="*/ 37323 h 3827524"/>
              <a:gd name="connsiteX5" fmla="*/ 2818643 w 6568826"/>
              <a:gd name="connsiteY5" fmla="*/ 766419 h 3827524"/>
              <a:gd name="connsiteX6" fmla="*/ 2560930 w 6568826"/>
              <a:gd name="connsiteY6" fmla="*/ 517153 h 3827524"/>
              <a:gd name="connsiteX7" fmla="*/ 1937382 w 6568826"/>
              <a:gd name="connsiteY7" fmla="*/ 101142 h 3827524"/>
              <a:gd name="connsiteX8" fmla="*/ 28146 w 6568826"/>
              <a:gd name="connsiteY8" fmla="*/ 2605726 h 3827524"/>
              <a:gd name="connsiteX9" fmla="*/ 980692 w 6568826"/>
              <a:gd name="connsiteY9" fmla="*/ 2707154 h 3827524"/>
              <a:gd name="connsiteX10" fmla="*/ 2233617 w 6568826"/>
              <a:gd name="connsiteY10" fmla="*/ 2379724 h 3827524"/>
              <a:gd name="connsiteX11" fmla="*/ 4160919 w 6568826"/>
              <a:gd name="connsiteY11" fmla="*/ 2838983 h 3827524"/>
              <a:gd name="connsiteX12" fmla="*/ 4597524 w 6568826"/>
              <a:gd name="connsiteY12" fmla="*/ 3827524 h 3827524"/>
              <a:gd name="connsiteX0" fmla="*/ 6568663 w 6568663"/>
              <a:gd name="connsiteY0" fmla="*/ 363360 h 3822199"/>
              <a:gd name="connsiteX1" fmla="*/ 5995572 w 6568663"/>
              <a:gd name="connsiteY1" fmla="*/ 1102355 h 3822199"/>
              <a:gd name="connsiteX2" fmla="*/ 4123194 w 6568663"/>
              <a:gd name="connsiteY2" fmla="*/ 1470109 h 3822199"/>
              <a:gd name="connsiteX3" fmla="*/ 3800584 w 6568663"/>
              <a:gd name="connsiteY3" fmla="*/ 1044293 h 3822199"/>
              <a:gd name="connsiteX4" fmla="*/ 3128967 w 6568663"/>
              <a:gd name="connsiteY4" fmla="*/ 31998 h 3822199"/>
              <a:gd name="connsiteX5" fmla="*/ 2818480 w 6568663"/>
              <a:gd name="connsiteY5" fmla="*/ 761094 h 3822199"/>
              <a:gd name="connsiteX6" fmla="*/ 2490628 w 6568663"/>
              <a:gd name="connsiteY6" fmla="*/ 543000 h 3822199"/>
              <a:gd name="connsiteX7" fmla="*/ 1937219 w 6568663"/>
              <a:gd name="connsiteY7" fmla="*/ 95817 h 3822199"/>
              <a:gd name="connsiteX8" fmla="*/ 27983 w 6568663"/>
              <a:gd name="connsiteY8" fmla="*/ 2600401 h 3822199"/>
              <a:gd name="connsiteX9" fmla="*/ 980529 w 6568663"/>
              <a:gd name="connsiteY9" fmla="*/ 2701829 h 3822199"/>
              <a:gd name="connsiteX10" fmla="*/ 2233454 w 6568663"/>
              <a:gd name="connsiteY10" fmla="*/ 2374399 h 3822199"/>
              <a:gd name="connsiteX11" fmla="*/ 4160756 w 6568663"/>
              <a:gd name="connsiteY11" fmla="*/ 2833658 h 3822199"/>
              <a:gd name="connsiteX12" fmla="*/ 4597361 w 6568663"/>
              <a:gd name="connsiteY12" fmla="*/ 3822199 h 3822199"/>
              <a:gd name="connsiteX0" fmla="*/ 6568273 w 6568273"/>
              <a:gd name="connsiteY0" fmla="*/ 440427 h 3899266"/>
              <a:gd name="connsiteX1" fmla="*/ 5995182 w 6568273"/>
              <a:gd name="connsiteY1" fmla="*/ 1179422 h 3899266"/>
              <a:gd name="connsiteX2" fmla="*/ 4122804 w 6568273"/>
              <a:gd name="connsiteY2" fmla="*/ 1547176 h 3899266"/>
              <a:gd name="connsiteX3" fmla="*/ 3800194 w 6568273"/>
              <a:gd name="connsiteY3" fmla="*/ 1121360 h 3899266"/>
              <a:gd name="connsiteX4" fmla="*/ 3128577 w 6568273"/>
              <a:gd name="connsiteY4" fmla="*/ 109065 h 3899266"/>
              <a:gd name="connsiteX5" fmla="*/ 2818090 w 6568273"/>
              <a:gd name="connsiteY5" fmla="*/ 838161 h 3899266"/>
              <a:gd name="connsiteX6" fmla="*/ 2490238 w 6568273"/>
              <a:gd name="connsiteY6" fmla="*/ 620067 h 3899266"/>
              <a:gd name="connsiteX7" fmla="*/ 2318788 w 6568273"/>
              <a:gd name="connsiteY7" fmla="*/ 261582 h 3899266"/>
              <a:gd name="connsiteX8" fmla="*/ 1936829 w 6568273"/>
              <a:gd name="connsiteY8" fmla="*/ 172884 h 3899266"/>
              <a:gd name="connsiteX9" fmla="*/ 27593 w 6568273"/>
              <a:gd name="connsiteY9" fmla="*/ 2677468 h 3899266"/>
              <a:gd name="connsiteX10" fmla="*/ 980139 w 6568273"/>
              <a:gd name="connsiteY10" fmla="*/ 2778896 h 3899266"/>
              <a:gd name="connsiteX11" fmla="*/ 2233064 w 6568273"/>
              <a:gd name="connsiteY11" fmla="*/ 2451466 h 3899266"/>
              <a:gd name="connsiteX12" fmla="*/ 4160366 w 6568273"/>
              <a:gd name="connsiteY12" fmla="*/ 2910725 h 3899266"/>
              <a:gd name="connsiteX13" fmla="*/ 4596971 w 6568273"/>
              <a:gd name="connsiteY13" fmla="*/ 3899266 h 3899266"/>
              <a:gd name="connsiteX0" fmla="*/ 6568734 w 6568734"/>
              <a:gd name="connsiteY0" fmla="*/ 453065 h 3911904"/>
              <a:gd name="connsiteX1" fmla="*/ 5995643 w 6568734"/>
              <a:gd name="connsiteY1" fmla="*/ 1192060 h 3911904"/>
              <a:gd name="connsiteX2" fmla="*/ 4123265 w 6568734"/>
              <a:gd name="connsiteY2" fmla="*/ 1559814 h 3911904"/>
              <a:gd name="connsiteX3" fmla="*/ 3800655 w 6568734"/>
              <a:gd name="connsiteY3" fmla="*/ 1133998 h 3911904"/>
              <a:gd name="connsiteX4" fmla="*/ 3129038 w 6568734"/>
              <a:gd name="connsiteY4" fmla="*/ 121703 h 3911904"/>
              <a:gd name="connsiteX5" fmla="*/ 2818551 w 6568734"/>
              <a:gd name="connsiteY5" fmla="*/ 850799 h 3911904"/>
              <a:gd name="connsiteX6" fmla="*/ 2490699 w 6568734"/>
              <a:gd name="connsiteY6" fmla="*/ 632705 h 3911904"/>
              <a:gd name="connsiteX7" fmla="*/ 2521872 w 6568734"/>
              <a:gd name="connsiteY7" fmla="*/ 235255 h 3911904"/>
              <a:gd name="connsiteX8" fmla="*/ 1937290 w 6568734"/>
              <a:gd name="connsiteY8" fmla="*/ 185522 h 3911904"/>
              <a:gd name="connsiteX9" fmla="*/ 28054 w 6568734"/>
              <a:gd name="connsiteY9" fmla="*/ 2690106 h 3911904"/>
              <a:gd name="connsiteX10" fmla="*/ 980600 w 6568734"/>
              <a:gd name="connsiteY10" fmla="*/ 2791534 h 3911904"/>
              <a:gd name="connsiteX11" fmla="*/ 2233525 w 6568734"/>
              <a:gd name="connsiteY11" fmla="*/ 2464104 h 3911904"/>
              <a:gd name="connsiteX12" fmla="*/ 4160827 w 6568734"/>
              <a:gd name="connsiteY12" fmla="*/ 2923363 h 3911904"/>
              <a:gd name="connsiteX13" fmla="*/ 4597432 w 6568734"/>
              <a:gd name="connsiteY13" fmla="*/ 3911904 h 3911904"/>
              <a:gd name="connsiteX0" fmla="*/ 6570455 w 6570455"/>
              <a:gd name="connsiteY0" fmla="*/ 333671 h 3792510"/>
              <a:gd name="connsiteX1" fmla="*/ 5997364 w 6570455"/>
              <a:gd name="connsiteY1" fmla="*/ 1072666 h 3792510"/>
              <a:gd name="connsiteX2" fmla="*/ 4124986 w 6570455"/>
              <a:gd name="connsiteY2" fmla="*/ 1440420 h 3792510"/>
              <a:gd name="connsiteX3" fmla="*/ 3802376 w 6570455"/>
              <a:gd name="connsiteY3" fmla="*/ 1014604 h 3792510"/>
              <a:gd name="connsiteX4" fmla="*/ 3130759 w 6570455"/>
              <a:gd name="connsiteY4" fmla="*/ 2309 h 3792510"/>
              <a:gd name="connsiteX5" fmla="*/ 2820272 w 6570455"/>
              <a:gd name="connsiteY5" fmla="*/ 731405 h 3792510"/>
              <a:gd name="connsiteX6" fmla="*/ 2492420 w 6570455"/>
              <a:gd name="connsiteY6" fmla="*/ 513311 h 3792510"/>
              <a:gd name="connsiteX7" fmla="*/ 2523593 w 6570455"/>
              <a:gd name="connsiteY7" fmla="*/ 115861 h 3792510"/>
              <a:gd name="connsiteX8" fmla="*/ 1939011 w 6570455"/>
              <a:gd name="connsiteY8" fmla="*/ 66128 h 3792510"/>
              <a:gd name="connsiteX9" fmla="*/ 29775 w 6570455"/>
              <a:gd name="connsiteY9" fmla="*/ 2570712 h 3792510"/>
              <a:gd name="connsiteX10" fmla="*/ 982321 w 6570455"/>
              <a:gd name="connsiteY10" fmla="*/ 2672140 h 3792510"/>
              <a:gd name="connsiteX11" fmla="*/ 2235246 w 6570455"/>
              <a:gd name="connsiteY11" fmla="*/ 2344710 h 3792510"/>
              <a:gd name="connsiteX12" fmla="*/ 4162548 w 6570455"/>
              <a:gd name="connsiteY12" fmla="*/ 2803969 h 3792510"/>
              <a:gd name="connsiteX13" fmla="*/ 4599153 w 6570455"/>
              <a:gd name="connsiteY13" fmla="*/ 3792510 h 3792510"/>
              <a:gd name="connsiteX0" fmla="*/ 6541543 w 6541543"/>
              <a:gd name="connsiteY0" fmla="*/ 333671 h 3792510"/>
              <a:gd name="connsiteX1" fmla="*/ 5968452 w 6541543"/>
              <a:gd name="connsiteY1" fmla="*/ 1072666 h 3792510"/>
              <a:gd name="connsiteX2" fmla="*/ 4096074 w 6541543"/>
              <a:gd name="connsiteY2" fmla="*/ 1440420 h 3792510"/>
              <a:gd name="connsiteX3" fmla="*/ 3773464 w 6541543"/>
              <a:gd name="connsiteY3" fmla="*/ 1014604 h 3792510"/>
              <a:gd name="connsiteX4" fmla="*/ 3101847 w 6541543"/>
              <a:gd name="connsiteY4" fmla="*/ 2309 h 3792510"/>
              <a:gd name="connsiteX5" fmla="*/ 2791360 w 6541543"/>
              <a:gd name="connsiteY5" fmla="*/ 731405 h 3792510"/>
              <a:gd name="connsiteX6" fmla="*/ 2463508 w 6541543"/>
              <a:gd name="connsiteY6" fmla="*/ 513311 h 3792510"/>
              <a:gd name="connsiteX7" fmla="*/ 2494681 w 6541543"/>
              <a:gd name="connsiteY7" fmla="*/ 115861 h 3792510"/>
              <a:gd name="connsiteX8" fmla="*/ 1910099 w 6541543"/>
              <a:gd name="connsiteY8" fmla="*/ 66128 h 3792510"/>
              <a:gd name="connsiteX9" fmla="*/ 1115288 w 6541543"/>
              <a:gd name="connsiteY9" fmla="*/ 762694 h 3792510"/>
              <a:gd name="connsiteX10" fmla="*/ 863 w 6541543"/>
              <a:gd name="connsiteY10" fmla="*/ 2570712 h 3792510"/>
              <a:gd name="connsiteX11" fmla="*/ 953409 w 6541543"/>
              <a:gd name="connsiteY11" fmla="*/ 2672140 h 3792510"/>
              <a:gd name="connsiteX12" fmla="*/ 2206334 w 6541543"/>
              <a:gd name="connsiteY12" fmla="*/ 2344710 h 3792510"/>
              <a:gd name="connsiteX13" fmla="*/ 4133636 w 6541543"/>
              <a:gd name="connsiteY13" fmla="*/ 2803969 h 3792510"/>
              <a:gd name="connsiteX14" fmla="*/ 4570241 w 6541543"/>
              <a:gd name="connsiteY14" fmla="*/ 3792510 h 3792510"/>
              <a:gd name="connsiteX0" fmla="*/ 6541543 w 6541543"/>
              <a:gd name="connsiteY0" fmla="*/ 333671 h 3792510"/>
              <a:gd name="connsiteX1" fmla="*/ 5968452 w 6541543"/>
              <a:gd name="connsiteY1" fmla="*/ 1072666 h 3792510"/>
              <a:gd name="connsiteX2" fmla="*/ 4096074 w 6541543"/>
              <a:gd name="connsiteY2" fmla="*/ 1440420 h 3792510"/>
              <a:gd name="connsiteX3" fmla="*/ 3773464 w 6541543"/>
              <a:gd name="connsiteY3" fmla="*/ 1014604 h 3792510"/>
              <a:gd name="connsiteX4" fmla="*/ 3101847 w 6541543"/>
              <a:gd name="connsiteY4" fmla="*/ 2309 h 3792510"/>
              <a:gd name="connsiteX5" fmla="*/ 2791360 w 6541543"/>
              <a:gd name="connsiteY5" fmla="*/ 731405 h 3792510"/>
              <a:gd name="connsiteX6" fmla="*/ 2463508 w 6541543"/>
              <a:gd name="connsiteY6" fmla="*/ 513311 h 3792510"/>
              <a:gd name="connsiteX7" fmla="*/ 2494681 w 6541543"/>
              <a:gd name="connsiteY7" fmla="*/ 115861 h 3792510"/>
              <a:gd name="connsiteX8" fmla="*/ 1910099 w 6541543"/>
              <a:gd name="connsiteY8" fmla="*/ 66128 h 3792510"/>
              <a:gd name="connsiteX9" fmla="*/ 982804 w 6541543"/>
              <a:gd name="connsiteY9" fmla="*/ 638003 h 3792510"/>
              <a:gd name="connsiteX10" fmla="*/ 863 w 6541543"/>
              <a:gd name="connsiteY10" fmla="*/ 2570712 h 3792510"/>
              <a:gd name="connsiteX11" fmla="*/ 953409 w 6541543"/>
              <a:gd name="connsiteY11" fmla="*/ 2672140 h 3792510"/>
              <a:gd name="connsiteX12" fmla="*/ 2206334 w 6541543"/>
              <a:gd name="connsiteY12" fmla="*/ 2344710 h 3792510"/>
              <a:gd name="connsiteX13" fmla="*/ 4133636 w 6541543"/>
              <a:gd name="connsiteY13" fmla="*/ 2803969 h 3792510"/>
              <a:gd name="connsiteX14" fmla="*/ 4570241 w 6541543"/>
              <a:gd name="connsiteY14" fmla="*/ 3792510 h 3792510"/>
              <a:gd name="connsiteX0" fmla="*/ 6541543 w 6541543"/>
              <a:gd name="connsiteY0" fmla="*/ 333671 h 3792510"/>
              <a:gd name="connsiteX1" fmla="*/ 5968452 w 6541543"/>
              <a:gd name="connsiteY1" fmla="*/ 1072666 h 3792510"/>
              <a:gd name="connsiteX2" fmla="*/ 4096074 w 6541543"/>
              <a:gd name="connsiteY2" fmla="*/ 1440420 h 3792510"/>
              <a:gd name="connsiteX3" fmla="*/ 3773464 w 6541543"/>
              <a:gd name="connsiteY3" fmla="*/ 1014604 h 3792510"/>
              <a:gd name="connsiteX4" fmla="*/ 3101847 w 6541543"/>
              <a:gd name="connsiteY4" fmla="*/ 2309 h 3792510"/>
              <a:gd name="connsiteX5" fmla="*/ 2791360 w 6541543"/>
              <a:gd name="connsiteY5" fmla="*/ 731405 h 3792510"/>
              <a:gd name="connsiteX6" fmla="*/ 2463508 w 6541543"/>
              <a:gd name="connsiteY6" fmla="*/ 513311 h 3792510"/>
              <a:gd name="connsiteX7" fmla="*/ 2494681 w 6541543"/>
              <a:gd name="connsiteY7" fmla="*/ 115861 h 3792510"/>
              <a:gd name="connsiteX8" fmla="*/ 1910099 w 6541543"/>
              <a:gd name="connsiteY8" fmla="*/ 66128 h 3792510"/>
              <a:gd name="connsiteX9" fmla="*/ 1582879 w 6541543"/>
              <a:gd name="connsiteY9" fmla="*/ 162619 h 3792510"/>
              <a:gd name="connsiteX10" fmla="*/ 982804 w 6541543"/>
              <a:gd name="connsiteY10" fmla="*/ 638003 h 3792510"/>
              <a:gd name="connsiteX11" fmla="*/ 863 w 6541543"/>
              <a:gd name="connsiteY11" fmla="*/ 2570712 h 3792510"/>
              <a:gd name="connsiteX12" fmla="*/ 953409 w 6541543"/>
              <a:gd name="connsiteY12" fmla="*/ 2672140 h 3792510"/>
              <a:gd name="connsiteX13" fmla="*/ 2206334 w 6541543"/>
              <a:gd name="connsiteY13" fmla="*/ 2344710 h 3792510"/>
              <a:gd name="connsiteX14" fmla="*/ 4133636 w 6541543"/>
              <a:gd name="connsiteY14" fmla="*/ 2803969 h 3792510"/>
              <a:gd name="connsiteX15" fmla="*/ 4570241 w 6541543"/>
              <a:gd name="connsiteY15" fmla="*/ 3792510 h 3792510"/>
              <a:gd name="connsiteX0" fmla="*/ 6541543 w 6541543"/>
              <a:gd name="connsiteY0" fmla="*/ 333671 h 3792510"/>
              <a:gd name="connsiteX1" fmla="*/ 5968452 w 6541543"/>
              <a:gd name="connsiteY1" fmla="*/ 1072666 h 3792510"/>
              <a:gd name="connsiteX2" fmla="*/ 4096074 w 6541543"/>
              <a:gd name="connsiteY2" fmla="*/ 1440420 h 3792510"/>
              <a:gd name="connsiteX3" fmla="*/ 3773464 w 6541543"/>
              <a:gd name="connsiteY3" fmla="*/ 1014604 h 3792510"/>
              <a:gd name="connsiteX4" fmla="*/ 3101847 w 6541543"/>
              <a:gd name="connsiteY4" fmla="*/ 2309 h 3792510"/>
              <a:gd name="connsiteX5" fmla="*/ 2791360 w 6541543"/>
              <a:gd name="connsiteY5" fmla="*/ 731405 h 3792510"/>
              <a:gd name="connsiteX6" fmla="*/ 2463508 w 6541543"/>
              <a:gd name="connsiteY6" fmla="*/ 513311 h 3792510"/>
              <a:gd name="connsiteX7" fmla="*/ 2494681 w 6541543"/>
              <a:gd name="connsiteY7" fmla="*/ 115861 h 3792510"/>
              <a:gd name="connsiteX8" fmla="*/ 1910099 w 6541543"/>
              <a:gd name="connsiteY8" fmla="*/ 66128 h 3792510"/>
              <a:gd name="connsiteX9" fmla="*/ 1691984 w 6541543"/>
              <a:gd name="connsiteY9" fmla="*/ 357449 h 3792510"/>
              <a:gd name="connsiteX10" fmla="*/ 982804 w 6541543"/>
              <a:gd name="connsiteY10" fmla="*/ 638003 h 3792510"/>
              <a:gd name="connsiteX11" fmla="*/ 863 w 6541543"/>
              <a:gd name="connsiteY11" fmla="*/ 2570712 h 3792510"/>
              <a:gd name="connsiteX12" fmla="*/ 953409 w 6541543"/>
              <a:gd name="connsiteY12" fmla="*/ 2672140 h 3792510"/>
              <a:gd name="connsiteX13" fmla="*/ 2206334 w 6541543"/>
              <a:gd name="connsiteY13" fmla="*/ 2344710 h 3792510"/>
              <a:gd name="connsiteX14" fmla="*/ 4133636 w 6541543"/>
              <a:gd name="connsiteY14" fmla="*/ 2803969 h 3792510"/>
              <a:gd name="connsiteX15" fmla="*/ 4570241 w 6541543"/>
              <a:gd name="connsiteY15" fmla="*/ 3792510 h 3792510"/>
              <a:gd name="connsiteX0" fmla="*/ 6541543 w 6541543"/>
              <a:gd name="connsiteY0" fmla="*/ 333671 h 3792510"/>
              <a:gd name="connsiteX1" fmla="*/ 5968452 w 6541543"/>
              <a:gd name="connsiteY1" fmla="*/ 1072666 h 3792510"/>
              <a:gd name="connsiteX2" fmla="*/ 4096074 w 6541543"/>
              <a:gd name="connsiteY2" fmla="*/ 1440420 h 3792510"/>
              <a:gd name="connsiteX3" fmla="*/ 3773464 w 6541543"/>
              <a:gd name="connsiteY3" fmla="*/ 1014604 h 3792510"/>
              <a:gd name="connsiteX4" fmla="*/ 3101847 w 6541543"/>
              <a:gd name="connsiteY4" fmla="*/ 2309 h 3792510"/>
              <a:gd name="connsiteX5" fmla="*/ 2791360 w 6541543"/>
              <a:gd name="connsiteY5" fmla="*/ 731405 h 3792510"/>
              <a:gd name="connsiteX6" fmla="*/ 2463508 w 6541543"/>
              <a:gd name="connsiteY6" fmla="*/ 513311 h 3792510"/>
              <a:gd name="connsiteX7" fmla="*/ 2494681 w 6541543"/>
              <a:gd name="connsiteY7" fmla="*/ 115861 h 3792510"/>
              <a:gd name="connsiteX8" fmla="*/ 1910099 w 6541543"/>
              <a:gd name="connsiteY8" fmla="*/ 66128 h 3792510"/>
              <a:gd name="connsiteX9" fmla="*/ 1691984 w 6541543"/>
              <a:gd name="connsiteY9" fmla="*/ 357449 h 3792510"/>
              <a:gd name="connsiteX10" fmla="*/ 982804 w 6541543"/>
              <a:gd name="connsiteY10" fmla="*/ 638003 h 3792510"/>
              <a:gd name="connsiteX11" fmla="*/ 863 w 6541543"/>
              <a:gd name="connsiteY11" fmla="*/ 2570712 h 3792510"/>
              <a:gd name="connsiteX12" fmla="*/ 953409 w 6541543"/>
              <a:gd name="connsiteY12" fmla="*/ 2672140 h 3792510"/>
              <a:gd name="connsiteX13" fmla="*/ 2206334 w 6541543"/>
              <a:gd name="connsiteY13" fmla="*/ 2344710 h 3792510"/>
              <a:gd name="connsiteX14" fmla="*/ 4133636 w 6541543"/>
              <a:gd name="connsiteY14" fmla="*/ 2803969 h 3792510"/>
              <a:gd name="connsiteX15" fmla="*/ 4570241 w 6541543"/>
              <a:gd name="connsiteY15" fmla="*/ 3792510 h 3792510"/>
              <a:gd name="connsiteX0" fmla="*/ 6541543 w 6541543"/>
              <a:gd name="connsiteY0" fmla="*/ 333671 h 3792510"/>
              <a:gd name="connsiteX1" fmla="*/ 5968452 w 6541543"/>
              <a:gd name="connsiteY1" fmla="*/ 1072666 h 3792510"/>
              <a:gd name="connsiteX2" fmla="*/ 4096074 w 6541543"/>
              <a:gd name="connsiteY2" fmla="*/ 1440420 h 3792510"/>
              <a:gd name="connsiteX3" fmla="*/ 3773464 w 6541543"/>
              <a:gd name="connsiteY3" fmla="*/ 1014604 h 3792510"/>
              <a:gd name="connsiteX4" fmla="*/ 3101847 w 6541543"/>
              <a:gd name="connsiteY4" fmla="*/ 2309 h 3792510"/>
              <a:gd name="connsiteX5" fmla="*/ 2791360 w 6541543"/>
              <a:gd name="connsiteY5" fmla="*/ 731405 h 3792510"/>
              <a:gd name="connsiteX6" fmla="*/ 2463508 w 6541543"/>
              <a:gd name="connsiteY6" fmla="*/ 513311 h 3792510"/>
              <a:gd name="connsiteX7" fmla="*/ 2494681 w 6541543"/>
              <a:gd name="connsiteY7" fmla="*/ 115861 h 3792510"/>
              <a:gd name="connsiteX8" fmla="*/ 1910099 w 6541543"/>
              <a:gd name="connsiteY8" fmla="*/ 66128 h 3792510"/>
              <a:gd name="connsiteX9" fmla="*/ 1691984 w 6541543"/>
              <a:gd name="connsiteY9" fmla="*/ 357449 h 3792510"/>
              <a:gd name="connsiteX10" fmla="*/ 982804 w 6541543"/>
              <a:gd name="connsiteY10" fmla="*/ 638003 h 3792510"/>
              <a:gd name="connsiteX11" fmla="*/ 863 w 6541543"/>
              <a:gd name="connsiteY11" fmla="*/ 2570712 h 3792510"/>
              <a:gd name="connsiteX12" fmla="*/ 953409 w 6541543"/>
              <a:gd name="connsiteY12" fmla="*/ 2672140 h 3792510"/>
              <a:gd name="connsiteX13" fmla="*/ 2206334 w 6541543"/>
              <a:gd name="connsiteY13" fmla="*/ 2344710 h 3792510"/>
              <a:gd name="connsiteX14" fmla="*/ 4133636 w 6541543"/>
              <a:gd name="connsiteY14" fmla="*/ 2803969 h 3792510"/>
              <a:gd name="connsiteX15" fmla="*/ 4570241 w 6541543"/>
              <a:gd name="connsiteY15" fmla="*/ 3792510 h 3792510"/>
              <a:gd name="connsiteX0" fmla="*/ 6541543 w 6541543"/>
              <a:gd name="connsiteY0" fmla="*/ 333671 h 3792510"/>
              <a:gd name="connsiteX1" fmla="*/ 5968452 w 6541543"/>
              <a:gd name="connsiteY1" fmla="*/ 1072666 h 3792510"/>
              <a:gd name="connsiteX2" fmla="*/ 4096074 w 6541543"/>
              <a:gd name="connsiteY2" fmla="*/ 1440420 h 3792510"/>
              <a:gd name="connsiteX3" fmla="*/ 3773464 w 6541543"/>
              <a:gd name="connsiteY3" fmla="*/ 1014604 h 3792510"/>
              <a:gd name="connsiteX4" fmla="*/ 3101847 w 6541543"/>
              <a:gd name="connsiteY4" fmla="*/ 2309 h 3792510"/>
              <a:gd name="connsiteX5" fmla="*/ 2791360 w 6541543"/>
              <a:gd name="connsiteY5" fmla="*/ 731405 h 3792510"/>
              <a:gd name="connsiteX6" fmla="*/ 2463508 w 6541543"/>
              <a:gd name="connsiteY6" fmla="*/ 513311 h 3792510"/>
              <a:gd name="connsiteX7" fmla="*/ 2494681 w 6541543"/>
              <a:gd name="connsiteY7" fmla="*/ 115861 h 3792510"/>
              <a:gd name="connsiteX8" fmla="*/ 1910099 w 6541543"/>
              <a:gd name="connsiteY8" fmla="*/ 66128 h 3792510"/>
              <a:gd name="connsiteX9" fmla="*/ 1629638 w 6541543"/>
              <a:gd name="connsiteY9" fmla="*/ 404209 h 3792510"/>
              <a:gd name="connsiteX10" fmla="*/ 982804 w 6541543"/>
              <a:gd name="connsiteY10" fmla="*/ 638003 h 3792510"/>
              <a:gd name="connsiteX11" fmla="*/ 863 w 6541543"/>
              <a:gd name="connsiteY11" fmla="*/ 2570712 h 3792510"/>
              <a:gd name="connsiteX12" fmla="*/ 953409 w 6541543"/>
              <a:gd name="connsiteY12" fmla="*/ 2672140 h 3792510"/>
              <a:gd name="connsiteX13" fmla="*/ 2206334 w 6541543"/>
              <a:gd name="connsiteY13" fmla="*/ 2344710 h 3792510"/>
              <a:gd name="connsiteX14" fmla="*/ 4133636 w 6541543"/>
              <a:gd name="connsiteY14" fmla="*/ 2803969 h 3792510"/>
              <a:gd name="connsiteX15" fmla="*/ 4570241 w 6541543"/>
              <a:gd name="connsiteY15" fmla="*/ 3792510 h 3792510"/>
              <a:gd name="connsiteX0" fmla="*/ 6550310 w 6550310"/>
              <a:gd name="connsiteY0" fmla="*/ 333671 h 3792510"/>
              <a:gd name="connsiteX1" fmla="*/ 5977219 w 6550310"/>
              <a:gd name="connsiteY1" fmla="*/ 1072666 h 3792510"/>
              <a:gd name="connsiteX2" fmla="*/ 4104841 w 6550310"/>
              <a:gd name="connsiteY2" fmla="*/ 1440420 h 3792510"/>
              <a:gd name="connsiteX3" fmla="*/ 3782231 w 6550310"/>
              <a:gd name="connsiteY3" fmla="*/ 1014604 h 3792510"/>
              <a:gd name="connsiteX4" fmla="*/ 3110614 w 6550310"/>
              <a:gd name="connsiteY4" fmla="*/ 2309 h 3792510"/>
              <a:gd name="connsiteX5" fmla="*/ 2800127 w 6550310"/>
              <a:gd name="connsiteY5" fmla="*/ 731405 h 3792510"/>
              <a:gd name="connsiteX6" fmla="*/ 2472275 w 6550310"/>
              <a:gd name="connsiteY6" fmla="*/ 513311 h 3792510"/>
              <a:gd name="connsiteX7" fmla="*/ 2503448 w 6550310"/>
              <a:gd name="connsiteY7" fmla="*/ 115861 h 3792510"/>
              <a:gd name="connsiteX8" fmla="*/ 1918866 w 6550310"/>
              <a:gd name="connsiteY8" fmla="*/ 66128 h 3792510"/>
              <a:gd name="connsiteX9" fmla="*/ 1638405 w 6550310"/>
              <a:gd name="connsiteY9" fmla="*/ 404209 h 3792510"/>
              <a:gd name="connsiteX10" fmla="*/ 991571 w 6550310"/>
              <a:gd name="connsiteY10" fmla="*/ 638003 h 3792510"/>
              <a:gd name="connsiteX11" fmla="*/ 500600 w 6550310"/>
              <a:gd name="connsiteY11" fmla="*/ 1417322 h 3792510"/>
              <a:gd name="connsiteX12" fmla="*/ 9630 w 6550310"/>
              <a:gd name="connsiteY12" fmla="*/ 2570712 h 3792510"/>
              <a:gd name="connsiteX13" fmla="*/ 962176 w 6550310"/>
              <a:gd name="connsiteY13" fmla="*/ 2672140 h 3792510"/>
              <a:gd name="connsiteX14" fmla="*/ 2215101 w 6550310"/>
              <a:gd name="connsiteY14" fmla="*/ 2344710 h 3792510"/>
              <a:gd name="connsiteX15" fmla="*/ 4142403 w 6550310"/>
              <a:gd name="connsiteY15" fmla="*/ 2803969 h 3792510"/>
              <a:gd name="connsiteX16" fmla="*/ 4579008 w 6550310"/>
              <a:gd name="connsiteY16" fmla="*/ 3792510 h 3792510"/>
              <a:gd name="connsiteX0" fmla="*/ 6550818 w 6550818"/>
              <a:gd name="connsiteY0" fmla="*/ 333671 h 3792510"/>
              <a:gd name="connsiteX1" fmla="*/ 5977727 w 6550818"/>
              <a:gd name="connsiteY1" fmla="*/ 1072666 h 3792510"/>
              <a:gd name="connsiteX2" fmla="*/ 4105349 w 6550818"/>
              <a:gd name="connsiteY2" fmla="*/ 1440420 h 3792510"/>
              <a:gd name="connsiteX3" fmla="*/ 3782739 w 6550818"/>
              <a:gd name="connsiteY3" fmla="*/ 1014604 h 3792510"/>
              <a:gd name="connsiteX4" fmla="*/ 3111122 w 6550818"/>
              <a:gd name="connsiteY4" fmla="*/ 2309 h 3792510"/>
              <a:gd name="connsiteX5" fmla="*/ 2800635 w 6550818"/>
              <a:gd name="connsiteY5" fmla="*/ 731405 h 3792510"/>
              <a:gd name="connsiteX6" fmla="*/ 2472783 w 6550818"/>
              <a:gd name="connsiteY6" fmla="*/ 513311 h 3792510"/>
              <a:gd name="connsiteX7" fmla="*/ 2503956 w 6550818"/>
              <a:gd name="connsiteY7" fmla="*/ 115861 h 3792510"/>
              <a:gd name="connsiteX8" fmla="*/ 1919374 w 6550818"/>
              <a:gd name="connsiteY8" fmla="*/ 66128 h 3792510"/>
              <a:gd name="connsiteX9" fmla="*/ 1638913 w 6550818"/>
              <a:gd name="connsiteY9" fmla="*/ 404209 h 3792510"/>
              <a:gd name="connsiteX10" fmla="*/ 992079 w 6550818"/>
              <a:gd name="connsiteY10" fmla="*/ 638003 h 3792510"/>
              <a:gd name="connsiteX11" fmla="*/ 477728 w 6550818"/>
              <a:gd name="connsiteY11" fmla="*/ 1051043 h 3792510"/>
              <a:gd name="connsiteX12" fmla="*/ 10138 w 6550818"/>
              <a:gd name="connsiteY12" fmla="*/ 2570712 h 3792510"/>
              <a:gd name="connsiteX13" fmla="*/ 962684 w 6550818"/>
              <a:gd name="connsiteY13" fmla="*/ 2672140 h 3792510"/>
              <a:gd name="connsiteX14" fmla="*/ 2215609 w 6550818"/>
              <a:gd name="connsiteY14" fmla="*/ 2344710 h 3792510"/>
              <a:gd name="connsiteX15" fmla="*/ 4142911 w 6550818"/>
              <a:gd name="connsiteY15" fmla="*/ 2803969 h 3792510"/>
              <a:gd name="connsiteX16" fmla="*/ 4579516 w 6550818"/>
              <a:gd name="connsiteY16" fmla="*/ 3792510 h 3792510"/>
              <a:gd name="connsiteX0" fmla="*/ 6550818 w 6550818"/>
              <a:gd name="connsiteY0" fmla="*/ 333671 h 3792510"/>
              <a:gd name="connsiteX1" fmla="*/ 5977727 w 6550818"/>
              <a:gd name="connsiteY1" fmla="*/ 1072666 h 3792510"/>
              <a:gd name="connsiteX2" fmla="*/ 4105349 w 6550818"/>
              <a:gd name="connsiteY2" fmla="*/ 1440420 h 3792510"/>
              <a:gd name="connsiteX3" fmla="*/ 3782739 w 6550818"/>
              <a:gd name="connsiteY3" fmla="*/ 1014604 h 3792510"/>
              <a:gd name="connsiteX4" fmla="*/ 3111122 w 6550818"/>
              <a:gd name="connsiteY4" fmla="*/ 2309 h 3792510"/>
              <a:gd name="connsiteX5" fmla="*/ 2800635 w 6550818"/>
              <a:gd name="connsiteY5" fmla="*/ 731405 h 3792510"/>
              <a:gd name="connsiteX6" fmla="*/ 2472783 w 6550818"/>
              <a:gd name="connsiteY6" fmla="*/ 513311 h 3792510"/>
              <a:gd name="connsiteX7" fmla="*/ 2503956 w 6550818"/>
              <a:gd name="connsiteY7" fmla="*/ 115861 h 3792510"/>
              <a:gd name="connsiteX8" fmla="*/ 1919374 w 6550818"/>
              <a:gd name="connsiteY8" fmla="*/ 66128 h 3792510"/>
              <a:gd name="connsiteX9" fmla="*/ 1638913 w 6550818"/>
              <a:gd name="connsiteY9" fmla="*/ 404209 h 3792510"/>
              <a:gd name="connsiteX10" fmla="*/ 992079 w 6550818"/>
              <a:gd name="connsiteY10" fmla="*/ 638003 h 3792510"/>
              <a:gd name="connsiteX11" fmla="*/ 477728 w 6550818"/>
              <a:gd name="connsiteY11" fmla="*/ 1051043 h 3792510"/>
              <a:gd name="connsiteX12" fmla="*/ 10138 w 6550818"/>
              <a:gd name="connsiteY12" fmla="*/ 2570712 h 3792510"/>
              <a:gd name="connsiteX13" fmla="*/ 962684 w 6550818"/>
              <a:gd name="connsiteY13" fmla="*/ 2672140 h 3792510"/>
              <a:gd name="connsiteX14" fmla="*/ 2215609 w 6550818"/>
              <a:gd name="connsiteY14" fmla="*/ 2344710 h 3792510"/>
              <a:gd name="connsiteX15" fmla="*/ 4142911 w 6550818"/>
              <a:gd name="connsiteY15" fmla="*/ 2803969 h 3792510"/>
              <a:gd name="connsiteX16" fmla="*/ 4579516 w 6550818"/>
              <a:gd name="connsiteY16" fmla="*/ 3792510 h 3792510"/>
              <a:gd name="connsiteX0" fmla="*/ 6629550 w 6629550"/>
              <a:gd name="connsiteY0" fmla="*/ 333671 h 3792510"/>
              <a:gd name="connsiteX1" fmla="*/ 6056459 w 6629550"/>
              <a:gd name="connsiteY1" fmla="*/ 1072666 h 3792510"/>
              <a:gd name="connsiteX2" fmla="*/ 4184081 w 6629550"/>
              <a:gd name="connsiteY2" fmla="*/ 1440420 h 3792510"/>
              <a:gd name="connsiteX3" fmla="*/ 3861471 w 6629550"/>
              <a:gd name="connsiteY3" fmla="*/ 1014604 h 3792510"/>
              <a:gd name="connsiteX4" fmla="*/ 3189854 w 6629550"/>
              <a:gd name="connsiteY4" fmla="*/ 2309 h 3792510"/>
              <a:gd name="connsiteX5" fmla="*/ 2879367 w 6629550"/>
              <a:gd name="connsiteY5" fmla="*/ 731405 h 3792510"/>
              <a:gd name="connsiteX6" fmla="*/ 2551515 w 6629550"/>
              <a:gd name="connsiteY6" fmla="*/ 513311 h 3792510"/>
              <a:gd name="connsiteX7" fmla="*/ 2582688 w 6629550"/>
              <a:gd name="connsiteY7" fmla="*/ 115861 h 3792510"/>
              <a:gd name="connsiteX8" fmla="*/ 1998106 w 6629550"/>
              <a:gd name="connsiteY8" fmla="*/ 66128 h 3792510"/>
              <a:gd name="connsiteX9" fmla="*/ 1717645 w 6629550"/>
              <a:gd name="connsiteY9" fmla="*/ 404209 h 3792510"/>
              <a:gd name="connsiteX10" fmla="*/ 1070811 w 6629550"/>
              <a:gd name="connsiteY10" fmla="*/ 638003 h 3792510"/>
              <a:gd name="connsiteX11" fmla="*/ 556460 w 6629550"/>
              <a:gd name="connsiteY11" fmla="*/ 1051043 h 3792510"/>
              <a:gd name="connsiteX12" fmla="*/ 88870 w 6629550"/>
              <a:gd name="connsiteY12" fmla="*/ 2570712 h 3792510"/>
              <a:gd name="connsiteX13" fmla="*/ 1041416 w 6629550"/>
              <a:gd name="connsiteY13" fmla="*/ 2672140 h 3792510"/>
              <a:gd name="connsiteX14" fmla="*/ 2294341 w 6629550"/>
              <a:gd name="connsiteY14" fmla="*/ 2344710 h 3792510"/>
              <a:gd name="connsiteX15" fmla="*/ 4221643 w 6629550"/>
              <a:gd name="connsiteY15" fmla="*/ 2803969 h 3792510"/>
              <a:gd name="connsiteX16" fmla="*/ 4658248 w 6629550"/>
              <a:gd name="connsiteY16" fmla="*/ 3792510 h 3792510"/>
              <a:gd name="connsiteX0" fmla="*/ 6685173 w 6685173"/>
              <a:gd name="connsiteY0" fmla="*/ 333671 h 3792510"/>
              <a:gd name="connsiteX1" fmla="*/ 6112082 w 6685173"/>
              <a:gd name="connsiteY1" fmla="*/ 1072666 h 3792510"/>
              <a:gd name="connsiteX2" fmla="*/ 4239704 w 6685173"/>
              <a:gd name="connsiteY2" fmla="*/ 1440420 h 3792510"/>
              <a:gd name="connsiteX3" fmla="*/ 3917094 w 6685173"/>
              <a:gd name="connsiteY3" fmla="*/ 1014604 h 3792510"/>
              <a:gd name="connsiteX4" fmla="*/ 3245477 w 6685173"/>
              <a:gd name="connsiteY4" fmla="*/ 2309 h 3792510"/>
              <a:gd name="connsiteX5" fmla="*/ 2934990 w 6685173"/>
              <a:gd name="connsiteY5" fmla="*/ 731405 h 3792510"/>
              <a:gd name="connsiteX6" fmla="*/ 2607138 w 6685173"/>
              <a:gd name="connsiteY6" fmla="*/ 513311 h 3792510"/>
              <a:gd name="connsiteX7" fmla="*/ 2638311 w 6685173"/>
              <a:gd name="connsiteY7" fmla="*/ 115861 h 3792510"/>
              <a:gd name="connsiteX8" fmla="*/ 2053729 w 6685173"/>
              <a:gd name="connsiteY8" fmla="*/ 66128 h 3792510"/>
              <a:gd name="connsiteX9" fmla="*/ 1773268 w 6685173"/>
              <a:gd name="connsiteY9" fmla="*/ 404209 h 3792510"/>
              <a:gd name="connsiteX10" fmla="*/ 1126434 w 6685173"/>
              <a:gd name="connsiteY10" fmla="*/ 638003 h 3792510"/>
              <a:gd name="connsiteX11" fmla="*/ 612083 w 6685173"/>
              <a:gd name="connsiteY11" fmla="*/ 1051043 h 3792510"/>
              <a:gd name="connsiteX12" fmla="*/ 50974 w 6685173"/>
              <a:gd name="connsiteY12" fmla="*/ 1853740 h 3792510"/>
              <a:gd name="connsiteX13" fmla="*/ 144493 w 6685173"/>
              <a:gd name="connsiteY13" fmla="*/ 2570712 h 3792510"/>
              <a:gd name="connsiteX14" fmla="*/ 1097039 w 6685173"/>
              <a:gd name="connsiteY14" fmla="*/ 2672140 h 3792510"/>
              <a:gd name="connsiteX15" fmla="*/ 2349964 w 6685173"/>
              <a:gd name="connsiteY15" fmla="*/ 2344710 h 3792510"/>
              <a:gd name="connsiteX16" fmla="*/ 4277266 w 6685173"/>
              <a:gd name="connsiteY16" fmla="*/ 2803969 h 3792510"/>
              <a:gd name="connsiteX17" fmla="*/ 4713871 w 6685173"/>
              <a:gd name="connsiteY17" fmla="*/ 3792510 h 3792510"/>
              <a:gd name="connsiteX0" fmla="*/ 6621354 w 6621354"/>
              <a:gd name="connsiteY0" fmla="*/ 333671 h 3792510"/>
              <a:gd name="connsiteX1" fmla="*/ 6048263 w 6621354"/>
              <a:gd name="connsiteY1" fmla="*/ 1072666 h 3792510"/>
              <a:gd name="connsiteX2" fmla="*/ 4175885 w 6621354"/>
              <a:gd name="connsiteY2" fmla="*/ 1440420 h 3792510"/>
              <a:gd name="connsiteX3" fmla="*/ 3853275 w 6621354"/>
              <a:gd name="connsiteY3" fmla="*/ 1014604 h 3792510"/>
              <a:gd name="connsiteX4" fmla="*/ 3181658 w 6621354"/>
              <a:gd name="connsiteY4" fmla="*/ 2309 h 3792510"/>
              <a:gd name="connsiteX5" fmla="*/ 2871171 w 6621354"/>
              <a:gd name="connsiteY5" fmla="*/ 731405 h 3792510"/>
              <a:gd name="connsiteX6" fmla="*/ 2543319 w 6621354"/>
              <a:gd name="connsiteY6" fmla="*/ 513311 h 3792510"/>
              <a:gd name="connsiteX7" fmla="*/ 2574492 w 6621354"/>
              <a:gd name="connsiteY7" fmla="*/ 115861 h 3792510"/>
              <a:gd name="connsiteX8" fmla="*/ 1989910 w 6621354"/>
              <a:gd name="connsiteY8" fmla="*/ 66128 h 3792510"/>
              <a:gd name="connsiteX9" fmla="*/ 1709449 w 6621354"/>
              <a:gd name="connsiteY9" fmla="*/ 404209 h 3792510"/>
              <a:gd name="connsiteX10" fmla="*/ 1062615 w 6621354"/>
              <a:gd name="connsiteY10" fmla="*/ 638003 h 3792510"/>
              <a:gd name="connsiteX11" fmla="*/ 548264 w 6621354"/>
              <a:gd name="connsiteY11" fmla="*/ 1051043 h 3792510"/>
              <a:gd name="connsiteX12" fmla="*/ 135226 w 6621354"/>
              <a:gd name="connsiteY12" fmla="*/ 1838153 h 3792510"/>
              <a:gd name="connsiteX13" fmla="*/ 80674 w 6621354"/>
              <a:gd name="connsiteY13" fmla="*/ 2570712 h 3792510"/>
              <a:gd name="connsiteX14" fmla="*/ 1033220 w 6621354"/>
              <a:gd name="connsiteY14" fmla="*/ 2672140 h 3792510"/>
              <a:gd name="connsiteX15" fmla="*/ 2286145 w 6621354"/>
              <a:gd name="connsiteY15" fmla="*/ 2344710 h 3792510"/>
              <a:gd name="connsiteX16" fmla="*/ 4213447 w 6621354"/>
              <a:gd name="connsiteY16" fmla="*/ 2803969 h 3792510"/>
              <a:gd name="connsiteX17" fmla="*/ 4650052 w 6621354"/>
              <a:gd name="connsiteY17" fmla="*/ 3792510 h 3792510"/>
              <a:gd name="connsiteX0" fmla="*/ 6614442 w 6614442"/>
              <a:gd name="connsiteY0" fmla="*/ 333671 h 3792510"/>
              <a:gd name="connsiteX1" fmla="*/ 6041351 w 6614442"/>
              <a:gd name="connsiteY1" fmla="*/ 1072666 h 3792510"/>
              <a:gd name="connsiteX2" fmla="*/ 4168973 w 6614442"/>
              <a:gd name="connsiteY2" fmla="*/ 1440420 h 3792510"/>
              <a:gd name="connsiteX3" fmla="*/ 3846363 w 6614442"/>
              <a:gd name="connsiteY3" fmla="*/ 1014604 h 3792510"/>
              <a:gd name="connsiteX4" fmla="*/ 3174746 w 6614442"/>
              <a:gd name="connsiteY4" fmla="*/ 2309 h 3792510"/>
              <a:gd name="connsiteX5" fmla="*/ 2864259 w 6614442"/>
              <a:gd name="connsiteY5" fmla="*/ 731405 h 3792510"/>
              <a:gd name="connsiteX6" fmla="*/ 2536407 w 6614442"/>
              <a:gd name="connsiteY6" fmla="*/ 513311 h 3792510"/>
              <a:gd name="connsiteX7" fmla="*/ 2567580 w 6614442"/>
              <a:gd name="connsiteY7" fmla="*/ 115861 h 3792510"/>
              <a:gd name="connsiteX8" fmla="*/ 1982998 w 6614442"/>
              <a:gd name="connsiteY8" fmla="*/ 66128 h 3792510"/>
              <a:gd name="connsiteX9" fmla="*/ 1702537 w 6614442"/>
              <a:gd name="connsiteY9" fmla="*/ 404209 h 3792510"/>
              <a:gd name="connsiteX10" fmla="*/ 1055703 w 6614442"/>
              <a:gd name="connsiteY10" fmla="*/ 638003 h 3792510"/>
              <a:gd name="connsiteX11" fmla="*/ 541352 w 6614442"/>
              <a:gd name="connsiteY11" fmla="*/ 1051043 h 3792510"/>
              <a:gd name="connsiteX12" fmla="*/ 346523 w 6614442"/>
              <a:gd name="connsiteY12" fmla="*/ 1354976 h 3792510"/>
              <a:gd name="connsiteX13" fmla="*/ 128314 w 6614442"/>
              <a:gd name="connsiteY13" fmla="*/ 1838153 h 3792510"/>
              <a:gd name="connsiteX14" fmla="*/ 73762 w 6614442"/>
              <a:gd name="connsiteY14" fmla="*/ 2570712 h 3792510"/>
              <a:gd name="connsiteX15" fmla="*/ 1026308 w 6614442"/>
              <a:gd name="connsiteY15" fmla="*/ 2672140 h 3792510"/>
              <a:gd name="connsiteX16" fmla="*/ 2279233 w 6614442"/>
              <a:gd name="connsiteY16" fmla="*/ 2344710 h 3792510"/>
              <a:gd name="connsiteX17" fmla="*/ 4206535 w 6614442"/>
              <a:gd name="connsiteY17" fmla="*/ 2803969 h 3792510"/>
              <a:gd name="connsiteX18" fmla="*/ 4643140 w 6614442"/>
              <a:gd name="connsiteY18" fmla="*/ 3792510 h 3792510"/>
              <a:gd name="connsiteX0" fmla="*/ 6614442 w 6614442"/>
              <a:gd name="connsiteY0" fmla="*/ 333671 h 3792510"/>
              <a:gd name="connsiteX1" fmla="*/ 6041351 w 6614442"/>
              <a:gd name="connsiteY1" fmla="*/ 1072666 h 3792510"/>
              <a:gd name="connsiteX2" fmla="*/ 4168973 w 6614442"/>
              <a:gd name="connsiteY2" fmla="*/ 1440420 h 3792510"/>
              <a:gd name="connsiteX3" fmla="*/ 3846363 w 6614442"/>
              <a:gd name="connsiteY3" fmla="*/ 1014604 h 3792510"/>
              <a:gd name="connsiteX4" fmla="*/ 3174746 w 6614442"/>
              <a:gd name="connsiteY4" fmla="*/ 2309 h 3792510"/>
              <a:gd name="connsiteX5" fmla="*/ 2864259 w 6614442"/>
              <a:gd name="connsiteY5" fmla="*/ 731405 h 3792510"/>
              <a:gd name="connsiteX6" fmla="*/ 2536407 w 6614442"/>
              <a:gd name="connsiteY6" fmla="*/ 513311 h 3792510"/>
              <a:gd name="connsiteX7" fmla="*/ 2567580 w 6614442"/>
              <a:gd name="connsiteY7" fmla="*/ 115861 h 3792510"/>
              <a:gd name="connsiteX8" fmla="*/ 1982998 w 6614442"/>
              <a:gd name="connsiteY8" fmla="*/ 66128 h 3792510"/>
              <a:gd name="connsiteX9" fmla="*/ 1702537 w 6614442"/>
              <a:gd name="connsiteY9" fmla="*/ 404209 h 3792510"/>
              <a:gd name="connsiteX10" fmla="*/ 1055703 w 6614442"/>
              <a:gd name="connsiteY10" fmla="*/ 638003 h 3792510"/>
              <a:gd name="connsiteX11" fmla="*/ 541352 w 6614442"/>
              <a:gd name="connsiteY11" fmla="*/ 1051043 h 3792510"/>
              <a:gd name="connsiteX12" fmla="*/ 159487 w 6614442"/>
              <a:gd name="connsiteY12" fmla="*/ 1292630 h 3792510"/>
              <a:gd name="connsiteX13" fmla="*/ 128314 w 6614442"/>
              <a:gd name="connsiteY13" fmla="*/ 1838153 h 3792510"/>
              <a:gd name="connsiteX14" fmla="*/ 73762 w 6614442"/>
              <a:gd name="connsiteY14" fmla="*/ 2570712 h 3792510"/>
              <a:gd name="connsiteX15" fmla="*/ 1026308 w 6614442"/>
              <a:gd name="connsiteY15" fmla="*/ 2672140 h 3792510"/>
              <a:gd name="connsiteX16" fmla="*/ 2279233 w 6614442"/>
              <a:gd name="connsiteY16" fmla="*/ 2344710 h 3792510"/>
              <a:gd name="connsiteX17" fmla="*/ 4206535 w 6614442"/>
              <a:gd name="connsiteY17" fmla="*/ 2803969 h 3792510"/>
              <a:gd name="connsiteX18" fmla="*/ 4643140 w 6614442"/>
              <a:gd name="connsiteY18" fmla="*/ 3792510 h 3792510"/>
              <a:gd name="connsiteX0" fmla="*/ 6499264 w 6499264"/>
              <a:gd name="connsiteY0" fmla="*/ 333671 h 3792510"/>
              <a:gd name="connsiteX1" fmla="*/ 5926173 w 6499264"/>
              <a:gd name="connsiteY1" fmla="*/ 1072666 h 3792510"/>
              <a:gd name="connsiteX2" fmla="*/ 4053795 w 6499264"/>
              <a:gd name="connsiteY2" fmla="*/ 1440420 h 3792510"/>
              <a:gd name="connsiteX3" fmla="*/ 3731185 w 6499264"/>
              <a:gd name="connsiteY3" fmla="*/ 1014604 h 3792510"/>
              <a:gd name="connsiteX4" fmla="*/ 3059568 w 6499264"/>
              <a:gd name="connsiteY4" fmla="*/ 2309 h 3792510"/>
              <a:gd name="connsiteX5" fmla="*/ 2749081 w 6499264"/>
              <a:gd name="connsiteY5" fmla="*/ 731405 h 3792510"/>
              <a:gd name="connsiteX6" fmla="*/ 2421229 w 6499264"/>
              <a:gd name="connsiteY6" fmla="*/ 513311 h 3792510"/>
              <a:gd name="connsiteX7" fmla="*/ 2452402 w 6499264"/>
              <a:gd name="connsiteY7" fmla="*/ 115861 h 3792510"/>
              <a:gd name="connsiteX8" fmla="*/ 1867820 w 6499264"/>
              <a:gd name="connsiteY8" fmla="*/ 66128 h 3792510"/>
              <a:gd name="connsiteX9" fmla="*/ 1587359 w 6499264"/>
              <a:gd name="connsiteY9" fmla="*/ 404209 h 3792510"/>
              <a:gd name="connsiteX10" fmla="*/ 940525 w 6499264"/>
              <a:gd name="connsiteY10" fmla="*/ 638003 h 3792510"/>
              <a:gd name="connsiteX11" fmla="*/ 426174 w 6499264"/>
              <a:gd name="connsiteY11" fmla="*/ 1051043 h 3792510"/>
              <a:gd name="connsiteX12" fmla="*/ 44309 w 6499264"/>
              <a:gd name="connsiteY12" fmla="*/ 1292630 h 3792510"/>
              <a:gd name="connsiteX13" fmla="*/ 13136 w 6499264"/>
              <a:gd name="connsiteY13" fmla="*/ 1838153 h 3792510"/>
              <a:gd name="connsiteX14" fmla="*/ 215759 w 6499264"/>
              <a:gd name="connsiteY14" fmla="*/ 2781128 h 3792510"/>
              <a:gd name="connsiteX15" fmla="*/ 911130 w 6499264"/>
              <a:gd name="connsiteY15" fmla="*/ 2672140 h 3792510"/>
              <a:gd name="connsiteX16" fmla="*/ 2164055 w 6499264"/>
              <a:gd name="connsiteY16" fmla="*/ 2344710 h 3792510"/>
              <a:gd name="connsiteX17" fmla="*/ 4091357 w 6499264"/>
              <a:gd name="connsiteY17" fmla="*/ 2803969 h 3792510"/>
              <a:gd name="connsiteX18" fmla="*/ 4527962 w 6499264"/>
              <a:gd name="connsiteY18" fmla="*/ 3792510 h 3792510"/>
              <a:gd name="connsiteX0" fmla="*/ 6496815 w 6496815"/>
              <a:gd name="connsiteY0" fmla="*/ 333671 h 3792510"/>
              <a:gd name="connsiteX1" fmla="*/ 5923724 w 6496815"/>
              <a:gd name="connsiteY1" fmla="*/ 1072666 h 3792510"/>
              <a:gd name="connsiteX2" fmla="*/ 4051346 w 6496815"/>
              <a:gd name="connsiteY2" fmla="*/ 1440420 h 3792510"/>
              <a:gd name="connsiteX3" fmla="*/ 3728736 w 6496815"/>
              <a:gd name="connsiteY3" fmla="*/ 1014604 h 3792510"/>
              <a:gd name="connsiteX4" fmla="*/ 3057119 w 6496815"/>
              <a:gd name="connsiteY4" fmla="*/ 2309 h 3792510"/>
              <a:gd name="connsiteX5" fmla="*/ 2746632 w 6496815"/>
              <a:gd name="connsiteY5" fmla="*/ 731405 h 3792510"/>
              <a:gd name="connsiteX6" fmla="*/ 2418780 w 6496815"/>
              <a:gd name="connsiteY6" fmla="*/ 513311 h 3792510"/>
              <a:gd name="connsiteX7" fmla="*/ 2449953 w 6496815"/>
              <a:gd name="connsiteY7" fmla="*/ 115861 h 3792510"/>
              <a:gd name="connsiteX8" fmla="*/ 1865371 w 6496815"/>
              <a:gd name="connsiteY8" fmla="*/ 66128 h 3792510"/>
              <a:gd name="connsiteX9" fmla="*/ 1584910 w 6496815"/>
              <a:gd name="connsiteY9" fmla="*/ 404209 h 3792510"/>
              <a:gd name="connsiteX10" fmla="*/ 938076 w 6496815"/>
              <a:gd name="connsiteY10" fmla="*/ 638003 h 3792510"/>
              <a:gd name="connsiteX11" fmla="*/ 423725 w 6496815"/>
              <a:gd name="connsiteY11" fmla="*/ 1051043 h 3792510"/>
              <a:gd name="connsiteX12" fmla="*/ 41860 w 6496815"/>
              <a:gd name="connsiteY12" fmla="*/ 1292630 h 3792510"/>
              <a:gd name="connsiteX13" fmla="*/ 10687 w 6496815"/>
              <a:gd name="connsiteY13" fmla="*/ 1838153 h 3792510"/>
              <a:gd name="connsiteX14" fmla="*/ 18481 w 6496815"/>
              <a:gd name="connsiteY14" fmla="*/ 2227812 h 3792510"/>
              <a:gd name="connsiteX15" fmla="*/ 213310 w 6496815"/>
              <a:gd name="connsiteY15" fmla="*/ 2781128 h 3792510"/>
              <a:gd name="connsiteX16" fmla="*/ 908681 w 6496815"/>
              <a:gd name="connsiteY16" fmla="*/ 2672140 h 3792510"/>
              <a:gd name="connsiteX17" fmla="*/ 2161606 w 6496815"/>
              <a:gd name="connsiteY17" fmla="*/ 2344710 h 3792510"/>
              <a:gd name="connsiteX18" fmla="*/ 4088908 w 6496815"/>
              <a:gd name="connsiteY18" fmla="*/ 2803969 h 3792510"/>
              <a:gd name="connsiteX19" fmla="*/ 4525513 w 6496815"/>
              <a:gd name="connsiteY19" fmla="*/ 3792510 h 3792510"/>
              <a:gd name="connsiteX0" fmla="*/ 6495043 w 6495043"/>
              <a:gd name="connsiteY0" fmla="*/ 333671 h 3792510"/>
              <a:gd name="connsiteX1" fmla="*/ 5921952 w 6495043"/>
              <a:gd name="connsiteY1" fmla="*/ 1072666 h 3792510"/>
              <a:gd name="connsiteX2" fmla="*/ 4049574 w 6495043"/>
              <a:gd name="connsiteY2" fmla="*/ 1440420 h 3792510"/>
              <a:gd name="connsiteX3" fmla="*/ 3726964 w 6495043"/>
              <a:gd name="connsiteY3" fmla="*/ 1014604 h 3792510"/>
              <a:gd name="connsiteX4" fmla="*/ 3055347 w 6495043"/>
              <a:gd name="connsiteY4" fmla="*/ 2309 h 3792510"/>
              <a:gd name="connsiteX5" fmla="*/ 2744860 w 6495043"/>
              <a:gd name="connsiteY5" fmla="*/ 731405 h 3792510"/>
              <a:gd name="connsiteX6" fmla="*/ 2417008 w 6495043"/>
              <a:gd name="connsiteY6" fmla="*/ 513311 h 3792510"/>
              <a:gd name="connsiteX7" fmla="*/ 2448181 w 6495043"/>
              <a:gd name="connsiteY7" fmla="*/ 115861 h 3792510"/>
              <a:gd name="connsiteX8" fmla="*/ 1863599 w 6495043"/>
              <a:gd name="connsiteY8" fmla="*/ 66128 h 3792510"/>
              <a:gd name="connsiteX9" fmla="*/ 1583138 w 6495043"/>
              <a:gd name="connsiteY9" fmla="*/ 404209 h 3792510"/>
              <a:gd name="connsiteX10" fmla="*/ 936304 w 6495043"/>
              <a:gd name="connsiteY10" fmla="*/ 638003 h 3792510"/>
              <a:gd name="connsiteX11" fmla="*/ 421953 w 6495043"/>
              <a:gd name="connsiteY11" fmla="*/ 1051043 h 3792510"/>
              <a:gd name="connsiteX12" fmla="*/ 40088 w 6495043"/>
              <a:gd name="connsiteY12" fmla="*/ 1292630 h 3792510"/>
              <a:gd name="connsiteX13" fmla="*/ 8915 w 6495043"/>
              <a:gd name="connsiteY13" fmla="*/ 1838153 h 3792510"/>
              <a:gd name="connsiteX14" fmla="*/ 110227 w 6495043"/>
              <a:gd name="connsiteY14" fmla="*/ 2204432 h 3792510"/>
              <a:gd name="connsiteX15" fmla="*/ 211538 w 6495043"/>
              <a:gd name="connsiteY15" fmla="*/ 2781128 h 3792510"/>
              <a:gd name="connsiteX16" fmla="*/ 906909 w 6495043"/>
              <a:gd name="connsiteY16" fmla="*/ 2672140 h 3792510"/>
              <a:gd name="connsiteX17" fmla="*/ 2159834 w 6495043"/>
              <a:gd name="connsiteY17" fmla="*/ 2344710 h 3792510"/>
              <a:gd name="connsiteX18" fmla="*/ 4087136 w 6495043"/>
              <a:gd name="connsiteY18" fmla="*/ 2803969 h 3792510"/>
              <a:gd name="connsiteX19" fmla="*/ 4523741 w 6495043"/>
              <a:gd name="connsiteY19" fmla="*/ 3792510 h 3792510"/>
              <a:gd name="connsiteX0" fmla="*/ 6495043 w 6495043"/>
              <a:gd name="connsiteY0" fmla="*/ 333671 h 3792510"/>
              <a:gd name="connsiteX1" fmla="*/ 5921952 w 6495043"/>
              <a:gd name="connsiteY1" fmla="*/ 1072666 h 3792510"/>
              <a:gd name="connsiteX2" fmla="*/ 4049574 w 6495043"/>
              <a:gd name="connsiteY2" fmla="*/ 1440420 h 3792510"/>
              <a:gd name="connsiteX3" fmla="*/ 3726964 w 6495043"/>
              <a:gd name="connsiteY3" fmla="*/ 1014604 h 3792510"/>
              <a:gd name="connsiteX4" fmla="*/ 3055347 w 6495043"/>
              <a:gd name="connsiteY4" fmla="*/ 2309 h 3792510"/>
              <a:gd name="connsiteX5" fmla="*/ 2744860 w 6495043"/>
              <a:gd name="connsiteY5" fmla="*/ 731405 h 3792510"/>
              <a:gd name="connsiteX6" fmla="*/ 2417008 w 6495043"/>
              <a:gd name="connsiteY6" fmla="*/ 513311 h 3792510"/>
              <a:gd name="connsiteX7" fmla="*/ 2448181 w 6495043"/>
              <a:gd name="connsiteY7" fmla="*/ 115861 h 3792510"/>
              <a:gd name="connsiteX8" fmla="*/ 1863599 w 6495043"/>
              <a:gd name="connsiteY8" fmla="*/ 66128 h 3792510"/>
              <a:gd name="connsiteX9" fmla="*/ 1583138 w 6495043"/>
              <a:gd name="connsiteY9" fmla="*/ 404209 h 3792510"/>
              <a:gd name="connsiteX10" fmla="*/ 936304 w 6495043"/>
              <a:gd name="connsiteY10" fmla="*/ 638003 h 3792510"/>
              <a:gd name="connsiteX11" fmla="*/ 421953 w 6495043"/>
              <a:gd name="connsiteY11" fmla="*/ 1051043 h 3792510"/>
              <a:gd name="connsiteX12" fmla="*/ 40088 w 6495043"/>
              <a:gd name="connsiteY12" fmla="*/ 1292630 h 3792510"/>
              <a:gd name="connsiteX13" fmla="*/ 8915 w 6495043"/>
              <a:gd name="connsiteY13" fmla="*/ 1838153 h 3792510"/>
              <a:gd name="connsiteX14" fmla="*/ 110227 w 6495043"/>
              <a:gd name="connsiteY14" fmla="*/ 2204432 h 3792510"/>
              <a:gd name="connsiteX15" fmla="*/ 211538 w 6495043"/>
              <a:gd name="connsiteY15" fmla="*/ 2781128 h 3792510"/>
              <a:gd name="connsiteX16" fmla="*/ 906909 w 6495043"/>
              <a:gd name="connsiteY16" fmla="*/ 2672140 h 3792510"/>
              <a:gd name="connsiteX17" fmla="*/ 1933832 w 6495043"/>
              <a:gd name="connsiteY17" fmla="*/ 2383676 h 3792510"/>
              <a:gd name="connsiteX18" fmla="*/ 4087136 w 6495043"/>
              <a:gd name="connsiteY18" fmla="*/ 2803969 h 3792510"/>
              <a:gd name="connsiteX19" fmla="*/ 4523741 w 6495043"/>
              <a:gd name="connsiteY19" fmla="*/ 3792510 h 3792510"/>
              <a:gd name="connsiteX0" fmla="*/ 6495043 w 6495043"/>
              <a:gd name="connsiteY0" fmla="*/ 333671 h 3792510"/>
              <a:gd name="connsiteX1" fmla="*/ 5921952 w 6495043"/>
              <a:gd name="connsiteY1" fmla="*/ 1072666 h 3792510"/>
              <a:gd name="connsiteX2" fmla="*/ 4049574 w 6495043"/>
              <a:gd name="connsiteY2" fmla="*/ 1440420 h 3792510"/>
              <a:gd name="connsiteX3" fmla="*/ 3726964 w 6495043"/>
              <a:gd name="connsiteY3" fmla="*/ 1014604 h 3792510"/>
              <a:gd name="connsiteX4" fmla="*/ 3055347 w 6495043"/>
              <a:gd name="connsiteY4" fmla="*/ 2309 h 3792510"/>
              <a:gd name="connsiteX5" fmla="*/ 2744860 w 6495043"/>
              <a:gd name="connsiteY5" fmla="*/ 731405 h 3792510"/>
              <a:gd name="connsiteX6" fmla="*/ 2417008 w 6495043"/>
              <a:gd name="connsiteY6" fmla="*/ 513311 h 3792510"/>
              <a:gd name="connsiteX7" fmla="*/ 2448181 w 6495043"/>
              <a:gd name="connsiteY7" fmla="*/ 115861 h 3792510"/>
              <a:gd name="connsiteX8" fmla="*/ 1863599 w 6495043"/>
              <a:gd name="connsiteY8" fmla="*/ 66128 h 3792510"/>
              <a:gd name="connsiteX9" fmla="*/ 1583138 w 6495043"/>
              <a:gd name="connsiteY9" fmla="*/ 404209 h 3792510"/>
              <a:gd name="connsiteX10" fmla="*/ 936304 w 6495043"/>
              <a:gd name="connsiteY10" fmla="*/ 638003 h 3792510"/>
              <a:gd name="connsiteX11" fmla="*/ 421953 w 6495043"/>
              <a:gd name="connsiteY11" fmla="*/ 1051043 h 3792510"/>
              <a:gd name="connsiteX12" fmla="*/ 40088 w 6495043"/>
              <a:gd name="connsiteY12" fmla="*/ 1292630 h 3792510"/>
              <a:gd name="connsiteX13" fmla="*/ 8915 w 6495043"/>
              <a:gd name="connsiteY13" fmla="*/ 1838153 h 3792510"/>
              <a:gd name="connsiteX14" fmla="*/ 110227 w 6495043"/>
              <a:gd name="connsiteY14" fmla="*/ 2204432 h 3792510"/>
              <a:gd name="connsiteX15" fmla="*/ 211538 w 6495043"/>
              <a:gd name="connsiteY15" fmla="*/ 2781128 h 3792510"/>
              <a:gd name="connsiteX16" fmla="*/ 906909 w 6495043"/>
              <a:gd name="connsiteY16" fmla="*/ 2672140 h 3792510"/>
              <a:gd name="connsiteX17" fmla="*/ 1933832 w 6495043"/>
              <a:gd name="connsiteY17" fmla="*/ 2383676 h 3792510"/>
              <a:gd name="connsiteX18" fmla="*/ 3133980 w 6495043"/>
              <a:gd name="connsiteY18" fmla="*/ 2617472 h 3792510"/>
              <a:gd name="connsiteX19" fmla="*/ 4087136 w 6495043"/>
              <a:gd name="connsiteY19" fmla="*/ 2803969 h 3792510"/>
              <a:gd name="connsiteX20" fmla="*/ 4523741 w 6495043"/>
              <a:gd name="connsiteY20" fmla="*/ 3792510 h 3792510"/>
              <a:gd name="connsiteX0" fmla="*/ 6495043 w 6495043"/>
              <a:gd name="connsiteY0" fmla="*/ 333671 h 3792510"/>
              <a:gd name="connsiteX1" fmla="*/ 5921952 w 6495043"/>
              <a:gd name="connsiteY1" fmla="*/ 1072666 h 3792510"/>
              <a:gd name="connsiteX2" fmla="*/ 4049574 w 6495043"/>
              <a:gd name="connsiteY2" fmla="*/ 1440420 h 3792510"/>
              <a:gd name="connsiteX3" fmla="*/ 3726964 w 6495043"/>
              <a:gd name="connsiteY3" fmla="*/ 1014604 h 3792510"/>
              <a:gd name="connsiteX4" fmla="*/ 3055347 w 6495043"/>
              <a:gd name="connsiteY4" fmla="*/ 2309 h 3792510"/>
              <a:gd name="connsiteX5" fmla="*/ 2744860 w 6495043"/>
              <a:gd name="connsiteY5" fmla="*/ 731405 h 3792510"/>
              <a:gd name="connsiteX6" fmla="*/ 2417008 w 6495043"/>
              <a:gd name="connsiteY6" fmla="*/ 513311 h 3792510"/>
              <a:gd name="connsiteX7" fmla="*/ 2448181 w 6495043"/>
              <a:gd name="connsiteY7" fmla="*/ 115861 h 3792510"/>
              <a:gd name="connsiteX8" fmla="*/ 1863599 w 6495043"/>
              <a:gd name="connsiteY8" fmla="*/ 66128 h 3792510"/>
              <a:gd name="connsiteX9" fmla="*/ 1583138 w 6495043"/>
              <a:gd name="connsiteY9" fmla="*/ 404209 h 3792510"/>
              <a:gd name="connsiteX10" fmla="*/ 936304 w 6495043"/>
              <a:gd name="connsiteY10" fmla="*/ 638003 h 3792510"/>
              <a:gd name="connsiteX11" fmla="*/ 421953 w 6495043"/>
              <a:gd name="connsiteY11" fmla="*/ 1051043 h 3792510"/>
              <a:gd name="connsiteX12" fmla="*/ 40088 w 6495043"/>
              <a:gd name="connsiteY12" fmla="*/ 1292630 h 3792510"/>
              <a:gd name="connsiteX13" fmla="*/ 8915 w 6495043"/>
              <a:gd name="connsiteY13" fmla="*/ 1838153 h 3792510"/>
              <a:gd name="connsiteX14" fmla="*/ 110227 w 6495043"/>
              <a:gd name="connsiteY14" fmla="*/ 2204432 h 3792510"/>
              <a:gd name="connsiteX15" fmla="*/ 211538 w 6495043"/>
              <a:gd name="connsiteY15" fmla="*/ 2781128 h 3792510"/>
              <a:gd name="connsiteX16" fmla="*/ 906909 w 6495043"/>
              <a:gd name="connsiteY16" fmla="*/ 2672140 h 3792510"/>
              <a:gd name="connsiteX17" fmla="*/ 1933832 w 6495043"/>
              <a:gd name="connsiteY17" fmla="*/ 2383676 h 3792510"/>
              <a:gd name="connsiteX18" fmla="*/ 2331283 w 6495043"/>
              <a:gd name="connsiteY18" fmla="*/ 2843474 h 3792510"/>
              <a:gd name="connsiteX19" fmla="*/ 4087136 w 6495043"/>
              <a:gd name="connsiteY19" fmla="*/ 2803969 h 3792510"/>
              <a:gd name="connsiteX20" fmla="*/ 4523741 w 6495043"/>
              <a:gd name="connsiteY20" fmla="*/ 3792510 h 3792510"/>
              <a:gd name="connsiteX0" fmla="*/ 6495043 w 6495043"/>
              <a:gd name="connsiteY0" fmla="*/ 333671 h 3792510"/>
              <a:gd name="connsiteX1" fmla="*/ 5921952 w 6495043"/>
              <a:gd name="connsiteY1" fmla="*/ 1072666 h 3792510"/>
              <a:gd name="connsiteX2" fmla="*/ 4049574 w 6495043"/>
              <a:gd name="connsiteY2" fmla="*/ 1440420 h 3792510"/>
              <a:gd name="connsiteX3" fmla="*/ 3726964 w 6495043"/>
              <a:gd name="connsiteY3" fmla="*/ 1014604 h 3792510"/>
              <a:gd name="connsiteX4" fmla="*/ 3055347 w 6495043"/>
              <a:gd name="connsiteY4" fmla="*/ 2309 h 3792510"/>
              <a:gd name="connsiteX5" fmla="*/ 2744860 w 6495043"/>
              <a:gd name="connsiteY5" fmla="*/ 731405 h 3792510"/>
              <a:gd name="connsiteX6" fmla="*/ 2417008 w 6495043"/>
              <a:gd name="connsiteY6" fmla="*/ 513311 h 3792510"/>
              <a:gd name="connsiteX7" fmla="*/ 2448181 w 6495043"/>
              <a:gd name="connsiteY7" fmla="*/ 115861 h 3792510"/>
              <a:gd name="connsiteX8" fmla="*/ 1863599 w 6495043"/>
              <a:gd name="connsiteY8" fmla="*/ 66128 h 3792510"/>
              <a:gd name="connsiteX9" fmla="*/ 1583138 w 6495043"/>
              <a:gd name="connsiteY9" fmla="*/ 404209 h 3792510"/>
              <a:gd name="connsiteX10" fmla="*/ 936304 w 6495043"/>
              <a:gd name="connsiteY10" fmla="*/ 638003 h 3792510"/>
              <a:gd name="connsiteX11" fmla="*/ 421953 w 6495043"/>
              <a:gd name="connsiteY11" fmla="*/ 1051043 h 3792510"/>
              <a:gd name="connsiteX12" fmla="*/ 40088 w 6495043"/>
              <a:gd name="connsiteY12" fmla="*/ 1292630 h 3792510"/>
              <a:gd name="connsiteX13" fmla="*/ 8915 w 6495043"/>
              <a:gd name="connsiteY13" fmla="*/ 1838153 h 3792510"/>
              <a:gd name="connsiteX14" fmla="*/ 110227 w 6495043"/>
              <a:gd name="connsiteY14" fmla="*/ 2204432 h 3792510"/>
              <a:gd name="connsiteX15" fmla="*/ 211538 w 6495043"/>
              <a:gd name="connsiteY15" fmla="*/ 2781128 h 3792510"/>
              <a:gd name="connsiteX16" fmla="*/ 906909 w 6495043"/>
              <a:gd name="connsiteY16" fmla="*/ 2672140 h 3792510"/>
              <a:gd name="connsiteX17" fmla="*/ 1933832 w 6495043"/>
              <a:gd name="connsiteY17" fmla="*/ 2383676 h 3792510"/>
              <a:gd name="connsiteX18" fmla="*/ 2331283 w 6495043"/>
              <a:gd name="connsiteY18" fmla="*/ 2843474 h 3792510"/>
              <a:gd name="connsiteX19" fmla="*/ 4087136 w 6495043"/>
              <a:gd name="connsiteY19" fmla="*/ 2803969 h 3792510"/>
              <a:gd name="connsiteX20" fmla="*/ 4523741 w 6495043"/>
              <a:gd name="connsiteY20" fmla="*/ 3792510 h 3792510"/>
              <a:gd name="connsiteX0" fmla="*/ 6495043 w 6495043"/>
              <a:gd name="connsiteY0" fmla="*/ 333671 h 3792510"/>
              <a:gd name="connsiteX1" fmla="*/ 5921952 w 6495043"/>
              <a:gd name="connsiteY1" fmla="*/ 1072666 h 3792510"/>
              <a:gd name="connsiteX2" fmla="*/ 4049574 w 6495043"/>
              <a:gd name="connsiteY2" fmla="*/ 1440420 h 3792510"/>
              <a:gd name="connsiteX3" fmla="*/ 3726964 w 6495043"/>
              <a:gd name="connsiteY3" fmla="*/ 1014604 h 3792510"/>
              <a:gd name="connsiteX4" fmla="*/ 3055347 w 6495043"/>
              <a:gd name="connsiteY4" fmla="*/ 2309 h 3792510"/>
              <a:gd name="connsiteX5" fmla="*/ 2744860 w 6495043"/>
              <a:gd name="connsiteY5" fmla="*/ 731405 h 3792510"/>
              <a:gd name="connsiteX6" fmla="*/ 2417008 w 6495043"/>
              <a:gd name="connsiteY6" fmla="*/ 513311 h 3792510"/>
              <a:gd name="connsiteX7" fmla="*/ 2448181 w 6495043"/>
              <a:gd name="connsiteY7" fmla="*/ 115861 h 3792510"/>
              <a:gd name="connsiteX8" fmla="*/ 1863599 w 6495043"/>
              <a:gd name="connsiteY8" fmla="*/ 66128 h 3792510"/>
              <a:gd name="connsiteX9" fmla="*/ 1583138 w 6495043"/>
              <a:gd name="connsiteY9" fmla="*/ 404209 h 3792510"/>
              <a:gd name="connsiteX10" fmla="*/ 936304 w 6495043"/>
              <a:gd name="connsiteY10" fmla="*/ 638003 h 3792510"/>
              <a:gd name="connsiteX11" fmla="*/ 421953 w 6495043"/>
              <a:gd name="connsiteY11" fmla="*/ 1051043 h 3792510"/>
              <a:gd name="connsiteX12" fmla="*/ 40088 w 6495043"/>
              <a:gd name="connsiteY12" fmla="*/ 1292630 h 3792510"/>
              <a:gd name="connsiteX13" fmla="*/ 8915 w 6495043"/>
              <a:gd name="connsiteY13" fmla="*/ 1838153 h 3792510"/>
              <a:gd name="connsiteX14" fmla="*/ 110227 w 6495043"/>
              <a:gd name="connsiteY14" fmla="*/ 2204432 h 3792510"/>
              <a:gd name="connsiteX15" fmla="*/ 211538 w 6495043"/>
              <a:gd name="connsiteY15" fmla="*/ 2781128 h 3792510"/>
              <a:gd name="connsiteX16" fmla="*/ 906909 w 6495043"/>
              <a:gd name="connsiteY16" fmla="*/ 2672140 h 3792510"/>
              <a:gd name="connsiteX17" fmla="*/ 1933832 w 6495043"/>
              <a:gd name="connsiteY17" fmla="*/ 2383676 h 3792510"/>
              <a:gd name="connsiteX18" fmla="*/ 2331283 w 6495043"/>
              <a:gd name="connsiteY18" fmla="*/ 2843474 h 3792510"/>
              <a:gd name="connsiteX19" fmla="*/ 3414535 w 6495043"/>
              <a:gd name="connsiteY19" fmla="*/ 2820094 h 3792510"/>
              <a:gd name="connsiteX20" fmla="*/ 4087136 w 6495043"/>
              <a:gd name="connsiteY20" fmla="*/ 2803969 h 3792510"/>
              <a:gd name="connsiteX21" fmla="*/ 4523741 w 6495043"/>
              <a:gd name="connsiteY21" fmla="*/ 3792510 h 3792510"/>
              <a:gd name="connsiteX0" fmla="*/ 6495043 w 6495043"/>
              <a:gd name="connsiteY0" fmla="*/ 333671 h 3792510"/>
              <a:gd name="connsiteX1" fmla="*/ 5921952 w 6495043"/>
              <a:gd name="connsiteY1" fmla="*/ 1072666 h 3792510"/>
              <a:gd name="connsiteX2" fmla="*/ 4049574 w 6495043"/>
              <a:gd name="connsiteY2" fmla="*/ 1440420 h 3792510"/>
              <a:gd name="connsiteX3" fmla="*/ 3726964 w 6495043"/>
              <a:gd name="connsiteY3" fmla="*/ 1014604 h 3792510"/>
              <a:gd name="connsiteX4" fmla="*/ 3055347 w 6495043"/>
              <a:gd name="connsiteY4" fmla="*/ 2309 h 3792510"/>
              <a:gd name="connsiteX5" fmla="*/ 2744860 w 6495043"/>
              <a:gd name="connsiteY5" fmla="*/ 731405 h 3792510"/>
              <a:gd name="connsiteX6" fmla="*/ 2417008 w 6495043"/>
              <a:gd name="connsiteY6" fmla="*/ 513311 h 3792510"/>
              <a:gd name="connsiteX7" fmla="*/ 2448181 w 6495043"/>
              <a:gd name="connsiteY7" fmla="*/ 115861 h 3792510"/>
              <a:gd name="connsiteX8" fmla="*/ 1863599 w 6495043"/>
              <a:gd name="connsiteY8" fmla="*/ 66128 h 3792510"/>
              <a:gd name="connsiteX9" fmla="*/ 1583138 w 6495043"/>
              <a:gd name="connsiteY9" fmla="*/ 404209 h 3792510"/>
              <a:gd name="connsiteX10" fmla="*/ 936304 w 6495043"/>
              <a:gd name="connsiteY10" fmla="*/ 638003 h 3792510"/>
              <a:gd name="connsiteX11" fmla="*/ 421953 w 6495043"/>
              <a:gd name="connsiteY11" fmla="*/ 1051043 h 3792510"/>
              <a:gd name="connsiteX12" fmla="*/ 40088 w 6495043"/>
              <a:gd name="connsiteY12" fmla="*/ 1292630 h 3792510"/>
              <a:gd name="connsiteX13" fmla="*/ 8915 w 6495043"/>
              <a:gd name="connsiteY13" fmla="*/ 1838153 h 3792510"/>
              <a:gd name="connsiteX14" fmla="*/ 110227 w 6495043"/>
              <a:gd name="connsiteY14" fmla="*/ 2204432 h 3792510"/>
              <a:gd name="connsiteX15" fmla="*/ 211538 w 6495043"/>
              <a:gd name="connsiteY15" fmla="*/ 2781128 h 3792510"/>
              <a:gd name="connsiteX16" fmla="*/ 906909 w 6495043"/>
              <a:gd name="connsiteY16" fmla="*/ 2672140 h 3792510"/>
              <a:gd name="connsiteX17" fmla="*/ 1933832 w 6495043"/>
              <a:gd name="connsiteY17" fmla="*/ 2383676 h 3792510"/>
              <a:gd name="connsiteX18" fmla="*/ 2331283 w 6495043"/>
              <a:gd name="connsiteY18" fmla="*/ 2843474 h 3792510"/>
              <a:gd name="connsiteX19" fmla="*/ 2533905 w 6495043"/>
              <a:gd name="connsiteY19" fmla="*/ 2570711 h 3792510"/>
              <a:gd name="connsiteX20" fmla="*/ 4087136 w 6495043"/>
              <a:gd name="connsiteY20" fmla="*/ 2803969 h 3792510"/>
              <a:gd name="connsiteX21" fmla="*/ 4523741 w 6495043"/>
              <a:gd name="connsiteY21" fmla="*/ 3792510 h 3792510"/>
              <a:gd name="connsiteX0" fmla="*/ 6495043 w 6495043"/>
              <a:gd name="connsiteY0" fmla="*/ 333671 h 3792510"/>
              <a:gd name="connsiteX1" fmla="*/ 5921952 w 6495043"/>
              <a:gd name="connsiteY1" fmla="*/ 1072666 h 3792510"/>
              <a:gd name="connsiteX2" fmla="*/ 4049574 w 6495043"/>
              <a:gd name="connsiteY2" fmla="*/ 1440420 h 3792510"/>
              <a:gd name="connsiteX3" fmla="*/ 3726964 w 6495043"/>
              <a:gd name="connsiteY3" fmla="*/ 1014604 h 3792510"/>
              <a:gd name="connsiteX4" fmla="*/ 3055347 w 6495043"/>
              <a:gd name="connsiteY4" fmla="*/ 2309 h 3792510"/>
              <a:gd name="connsiteX5" fmla="*/ 2744860 w 6495043"/>
              <a:gd name="connsiteY5" fmla="*/ 731405 h 3792510"/>
              <a:gd name="connsiteX6" fmla="*/ 2417008 w 6495043"/>
              <a:gd name="connsiteY6" fmla="*/ 513311 h 3792510"/>
              <a:gd name="connsiteX7" fmla="*/ 2448181 w 6495043"/>
              <a:gd name="connsiteY7" fmla="*/ 115861 h 3792510"/>
              <a:gd name="connsiteX8" fmla="*/ 1863599 w 6495043"/>
              <a:gd name="connsiteY8" fmla="*/ 66128 h 3792510"/>
              <a:gd name="connsiteX9" fmla="*/ 1583138 w 6495043"/>
              <a:gd name="connsiteY9" fmla="*/ 404209 h 3792510"/>
              <a:gd name="connsiteX10" fmla="*/ 936304 w 6495043"/>
              <a:gd name="connsiteY10" fmla="*/ 638003 h 3792510"/>
              <a:gd name="connsiteX11" fmla="*/ 421953 w 6495043"/>
              <a:gd name="connsiteY11" fmla="*/ 1051043 h 3792510"/>
              <a:gd name="connsiteX12" fmla="*/ 40088 w 6495043"/>
              <a:gd name="connsiteY12" fmla="*/ 1292630 h 3792510"/>
              <a:gd name="connsiteX13" fmla="*/ 8915 w 6495043"/>
              <a:gd name="connsiteY13" fmla="*/ 1838153 h 3792510"/>
              <a:gd name="connsiteX14" fmla="*/ 110227 w 6495043"/>
              <a:gd name="connsiteY14" fmla="*/ 2204432 h 3792510"/>
              <a:gd name="connsiteX15" fmla="*/ 211538 w 6495043"/>
              <a:gd name="connsiteY15" fmla="*/ 2781128 h 3792510"/>
              <a:gd name="connsiteX16" fmla="*/ 906909 w 6495043"/>
              <a:gd name="connsiteY16" fmla="*/ 2672140 h 3792510"/>
              <a:gd name="connsiteX17" fmla="*/ 1933832 w 6495043"/>
              <a:gd name="connsiteY17" fmla="*/ 2383676 h 3792510"/>
              <a:gd name="connsiteX18" fmla="*/ 2331283 w 6495043"/>
              <a:gd name="connsiteY18" fmla="*/ 2843474 h 3792510"/>
              <a:gd name="connsiteX19" fmla="*/ 2533905 w 6495043"/>
              <a:gd name="connsiteY19" fmla="*/ 2570711 h 3792510"/>
              <a:gd name="connsiteX20" fmla="*/ 4087136 w 6495043"/>
              <a:gd name="connsiteY20" fmla="*/ 2803969 h 3792510"/>
              <a:gd name="connsiteX21" fmla="*/ 4523741 w 6495043"/>
              <a:gd name="connsiteY21" fmla="*/ 3792510 h 3792510"/>
              <a:gd name="connsiteX0" fmla="*/ 6495043 w 6495043"/>
              <a:gd name="connsiteY0" fmla="*/ 333671 h 3792510"/>
              <a:gd name="connsiteX1" fmla="*/ 5921952 w 6495043"/>
              <a:gd name="connsiteY1" fmla="*/ 1072666 h 3792510"/>
              <a:gd name="connsiteX2" fmla="*/ 4049574 w 6495043"/>
              <a:gd name="connsiteY2" fmla="*/ 1440420 h 3792510"/>
              <a:gd name="connsiteX3" fmla="*/ 3726964 w 6495043"/>
              <a:gd name="connsiteY3" fmla="*/ 1014604 h 3792510"/>
              <a:gd name="connsiteX4" fmla="*/ 3055347 w 6495043"/>
              <a:gd name="connsiteY4" fmla="*/ 2309 h 3792510"/>
              <a:gd name="connsiteX5" fmla="*/ 2744860 w 6495043"/>
              <a:gd name="connsiteY5" fmla="*/ 731405 h 3792510"/>
              <a:gd name="connsiteX6" fmla="*/ 2417008 w 6495043"/>
              <a:gd name="connsiteY6" fmla="*/ 513311 h 3792510"/>
              <a:gd name="connsiteX7" fmla="*/ 2448181 w 6495043"/>
              <a:gd name="connsiteY7" fmla="*/ 115861 h 3792510"/>
              <a:gd name="connsiteX8" fmla="*/ 1863599 w 6495043"/>
              <a:gd name="connsiteY8" fmla="*/ 66128 h 3792510"/>
              <a:gd name="connsiteX9" fmla="*/ 1583138 w 6495043"/>
              <a:gd name="connsiteY9" fmla="*/ 404209 h 3792510"/>
              <a:gd name="connsiteX10" fmla="*/ 936304 w 6495043"/>
              <a:gd name="connsiteY10" fmla="*/ 638003 h 3792510"/>
              <a:gd name="connsiteX11" fmla="*/ 421953 w 6495043"/>
              <a:gd name="connsiteY11" fmla="*/ 1051043 h 3792510"/>
              <a:gd name="connsiteX12" fmla="*/ 40088 w 6495043"/>
              <a:gd name="connsiteY12" fmla="*/ 1292630 h 3792510"/>
              <a:gd name="connsiteX13" fmla="*/ 8915 w 6495043"/>
              <a:gd name="connsiteY13" fmla="*/ 1838153 h 3792510"/>
              <a:gd name="connsiteX14" fmla="*/ 110227 w 6495043"/>
              <a:gd name="connsiteY14" fmla="*/ 2204432 h 3792510"/>
              <a:gd name="connsiteX15" fmla="*/ 211538 w 6495043"/>
              <a:gd name="connsiteY15" fmla="*/ 2781128 h 3792510"/>
              <a:gd name="connsiteX16" fmla="*/ 906909 w 6495043"/>
              <a:gd name="connsiteY16" fmla="*/ 2672140 h 3792510"/>
              <a:gd name="connsiteX17" fmla="*/ 1933832 w 6495043"/>
              <a:gd name="connsiteY17" fmla="*/ 2383676 h 3792510"/>
              <a:gd name="connsiteX18" fmla="*/ 2331283 w 6495043"/>
              <a:gd name="connsiteY18" fmla="*/ 2843474 h 3792510"/>
              <a:gd name="connsiteX19" fmla="*/ 2533905 w 6495043"/>
              <a:gd name="connsiteY19" fmla="*/ 2570711 h 3792510"/>
              <a:gd name="connsiteX20" fmla="*/ 4087136 w 6495043"/>
              <a:gd name="connsiteY20" fmla="*/ 2803969 h 3792510"/>
              <a:gd name="connsiteX21" fmla="*/ 4523741 w 6495043"/>
              <a:gd name="connsiteY21" fmla="*/ 3792510 h 3792510"/>
              <a:gd name="connsiteX0" fmla="*/ 6495043 w 6495043"/>
              <a:gd name="connsiteY0" fmla="*/ 333671 h 3792510"/>
              <a:gd name="connsiteX1" fmla="*/ 5921952 w 6495043"/>
              <a:gd name="connsiteY1" fmla="*/ 1072666 h 3792510"/>
              <a:gd name="connsiteX2" fmla="*/ 4049574 w 6495043"/>
              <a:gd name="connsiteY2" fmla="*/ 1440420 h 3792510"/>
              <a:gd name="connsiteX3" fmla="*/ 3726964 w 6495043"/>
              <a:gd name="connsiteY3" fmla="*/ 1014604 h 3792510"/>
              <a:gd name="connsiteX4" fmla="*/ 3055347 w 6495043"/>
              <a:gd name="connsiteY4" fmla="*/ 2309 h 3792510"/>
              <a:gd name="connsiteX5" fmla="*/ 2744860 w 6495043"/>
              <a:gd name="connsiteY5" fmla="*/ 731405 h 3792510"/>
              <a:gd name="connsiteX6" fmla="*/ 2417008 w 6495043"/>
              <a:gd name="connsiteY6" fmla="*/ 513311 h 3792510"/>
              <a:gd name="connsiteX7" fmla="*/ 2448181 w 6495043"/>
              <a:gd name="connsiteY7" fmla="*/ 115861 h 3792510"/>
              <a:gd name="connsiteX8" fmla="*/ 1863599 w 6495043"/>
              <a:gd name="connsiteY8" fmla="*/ 66128 h 3792510"/>
              <a:gd name="connsiteX9" fmla="*/ 1583138 w 6495043"/>
              <a:gd name="connsiteY9" fmla="*/ 404209 h 3792510"/>
              <a:gd name="connsiteX10" fmla="*/ 936304 w 6495043"/>
              <a:gd name="connsiteY10" fmla="*/ 638003 h 3792510"/>
              <a:gd name="connsiteX11" fmla="*/ 421953 w 6495043"/>
              <a:gd name="connsiteY11" fmla="*/ 1051043 h 3792510"/>
              <a:gd name="connsiteX12" fmla="*/ 40088 w 6495043"/>
              <a:gd name="connsiteY12" fmla="*/ 1292630 h 3792510"/>
              <a:gd name="connsiteX13" fmla="*/ 8915 w 6495043"/>
              <a:gd name="connsiteY13" fmla="*/ 1838153 h 3792510"/>
              <a:gd name="connsiteX14" fmla="*/ 110227 w 6495043"/>
              <a:gd name="connsiteY14" fmla="*/ 2204432 h 3792510"/>
              <a:gd name="connsiteX15" fmla="*/ 211538 w 6495043"/>
              <a:gd name="connsiteY15" fmla="*/ 2781128 h 3792510"/>
              <a:gd name="connsiteX16" fmla="*/ 906909 w 6495043"/>
              <a:gd name="connsiteY16" fmla="*/ 2672140 h 3792510"/>
              <a:gd name="connsiteX17" fmla="*/ 1933832 w 6495043"/>
              <a:gd name="connsiteY17" fmla="*/ 2383676 h 3792510"/>
              <a:gd name="connsiteX18" fmla="*/ 2331283 w 6495043"/>
              <a:gd name="connsiteY18" fmla="*/ 2843474 h 3792510"/>
              <a:gd name="connsiteX19" fmla="*/ 2533905 w 6495043"/>
              <a:gd name="connsiteY19" fmla="*/ 2570711 h 3792510"/>
              <a:gd name="connsiteX20" fmla="*/ 3596166 w 6495043"/>
              <a:gd name="connsiteY20" fmla="*/ 3263766 h 3792510"/>
              <a:gd name="connsiteX21" fmla="*/ 4523741 w 6495043"/>
              <a:gd name="connsiteY21" fmla="*/ 3792510 h 3792510"/>
              <a:gd name="connsiteX0" fmla="*/ 6495043 w 6495043"/>
              <a:gd name="connsiteY0" fmla="*/ 333671 h 3792510"/>
              <a:gd name="connsiteX1" fmla="*/ 5921952 w 6495043"/>
              <a:gd name="connsiteY1" fmla="*/ 1072666 h 3792510"/>
              <a:gd name="connsiteX2" fmla="*/ 4049574 w 6495043"/>
              <a:gd name="connsiteY2" fmla="*/ 1440420 h 3792510"/>
              <a:gd name="connsiteX3" fmla="*/ 3726964 w 6495043"/>
              <a:gd name="connsiteY3" fmla="*/ 1014604 h 3792510"/>
              <a:gd name="connsiteX4" fmla="*/ 3055347 w 6495043"/>
              <a:gd name="connsiteY4" fmla="*/ 2309 h 3792510"/>
              <a:gd name="connsiteX5" fmla="*/ 2744860 w 6495043"/>
              <a:gd name="connsiteY5" fmla="*/ 731405 h 3792510"/>
              <a:gd name="connsiteX6" fmla="*/ 2417008 w 6495043"/>
              <a:gd name="connsiteY6" fmla="*/ 513311 h 3792510"/>
              <a:gd name="connsiteX7" fmla="*/ 2448181 w 6495043"/>
              <a:gd name="connsiteY7" fmla="*/ 115861 h 3792510"/>
              <a:gd name="connsiteX8" fmla="*/ 1863599 w 6495043"/>
              <a:gd name="connsiteY8" fmla="*/ 66128 h 3792510"/>
              <a:gd name="connsiteX9" fmla="*/ 1583138 w 6495043"/>
              <a:gd name="connsiteY9" fmla="*/ 404209 h 3792510"/>
              <a:gd name="connsiteX10" fmla="*/ 936304 w 6495043"/>
              <a:gd name="connsiteY10" fmla="*/ 638003 h 3792510"/>
              <a:gd name="connsiteX11" fmla="*/ 421953 w 6495043"/>
              <a:gd name="connsiteY11" fmla="*/ 1051043 h 3792510"/>
              <a:gd name="connsiteX12" fmla="*/ 40088 w 6495043"/>
              <a:gd name="connsiteY12" fmla="*/ 1292630 h 3792510"/>
              <a:gd name="connsiteX13" fmla="*/ 8915 w 6495043"/>
              <a:gd name="connsiteY13" fmla="*/ 1838153 h 3792510"/>
              <a:gd name="connsiteX14" fmla="*/ 110227 w 6495043"/>
              <a:gd name="connsiteY14" fmla="*/ 2204432 h 3792510"/>
              <a:gd name="connsiteX15" fmla="*/ 211538 w 6495043"/>
              <a:gd name="connsiteY15" fmla="*/ 2781128 h 3792510"/>
              <a:gd name="connsiteX16" fmla="*/ 906909 w 6495043"/>
              <a:gd name="connsiteY16" fmla="*/ 2672140 h 3792510"/>
              <a:gd name="connsiteX17" fmla="*/ 1933832 w 6495043"/>
              <a:gd name="connsiteY17" fmla="*/ 2383676 h 3792510"/>
              <a:gd name="connsiteX18" fmla="*/ 2331283 w 6495043"/>
              <a:gd name="connsiteY18" fmla="*/ 2843474 h 3792510"/>
              <a:gd name="connsiteX19" fmla="*/ 2533905 w 6495043"/>
              <a:gd name="connsiteY19" fmla="*/ 2570711 h 3792510"/>
              <a:gd name="connsiteX20" fmla="*/ 3596166 w 6495043"/>
              <a:gd name="connsiteY20" fmla="*/ 3263766 h 3792510"/>
              <a:gd name="connsiteX21" fmla="*/ 4523741 w 6495043"/>
              <a:gd name="connsiteY21" fmla="*/ 3792510 h 3792510"/>
              <a:gd name="connsiteX0" fmla="*/ 6495043 w 6495043"/>
              <a:gd name="connsiteY0" fmla="*/ 333671 h 3792510"/>
              <a:gd name="connsiteX1" fmla="*/ 3942484 w 6495043"/>
              <a:gd name="connsiteY1" fmla="*/ 2950823 h 3792510"/>
              <a:gd name="connsiteX2" fmla="*/ 4049574 w 6495043"/>
              <a:gd name="connsiteY2" fmla="*/ 1440420 h 3792510"/>
              <a:gd name="connsiteX3" fmla="*/ 3726964 w 6495043"/>
              <a:gd name="connsiteY3" fmla="*/ 1014604 h 3792510"/>
              <a:gd name="connsiteX4" fmla="*/ 3055347 w 6495043"/>
              <a:gd name="connsiteY4" fmla="*/ 2309 h 3792510"/>
              <a:gd name="connsiteX5" fmla="*/ 2744860 w 6495043"/>
              <a:gd name="connsiteY5" fmla="*/ 731405 h 3792510"/>
              <a:gd name="connsiteX6" fmla="*/ 2417008 w 6495043"/>
              <a:gd name="connsiteY6" fmla="*/ 513311 h 3792510"/>
              <a:gd name="connsiteX7" fmla="*/ 2448181 w 6495043"/>
              <a:gd name="connsiteY7" fmla="*/ 115861 h 3792510"/>
              <a:gd name="connsiteX8" fmla="*/ 1863599 w 6495043"/>
              <a:gd name="connsiteY8" fmla="*/ 66128 h 3792510"/>
              <a:gd name="connsiteX9" fmla="*/ 1583138 w 6495043"/>
              <a:gd name="connsiteY9" fmla="*/ 404209 h 3792510"/>
              <a:gd name="connsiteX10" fmla="*/ 936304 w 6495043"/>
              <a:gd name="connsiteY10" fmla="*/ 638003 h 3792510"/>
              <a:gd name="connsiteX11" fmla="*/ 421953 w 6495043"/>
              <a:gd name="connsiteY11" fmla="*/ 1051043 h 3792510"/>
              <a:gd name="connsiteX12" fmla="*/ 40088 w 6495043"/>
              <a:gd name="connsiteY12" fmla="*/ 1292630 h 3792510"/>
              <a:gd name="connsiteX13" fmla="*/ 8915 w 6495043"/>
              <a:gd name="connsiteY13" fmla="*/ 1838153 h 3792510"/>
              <a:gd name="connsiteX14" fmla="*/ 110227 w 6495043"/>
              <a:gd name="connsiteY14" fmla="*/ 2204432 h 3792510"/>
              <a:gd name="connsiteX15" fmla="*/ 211538 w 6495043"/>
              <a:gd name="connsiteY15" fmla="*/ 2781128 h 3792510"/>
              <a:gd name="connsiteX16" fmla="*/ 906909 w 6495043"/>
              <a:gd name="connsiteY16" fmla="*/ 2672140 h 3792510"/>
              <a:gd name="connsiteX17" fmla="*/ 1933832 w 6495043"/>
              <a:gd name="connsiteY17" fmla="*/ 2383676 h 3792510"/>
              <a:gd name="connsiteX18" fmla="*/ 2331283 w 6495043"/>
              <a:gd name="connsiteY18" fmla="*/ 2843474 h 3792510"/>
              <a:gd name="connsiteX19" fmla="*/ 2533905 w 6495043"/>
              <a:gd name="connsiteY19" fmla="*/ 2570711 h 3792510"/>
              <a:gd name="connsiteX20" fmla="*/ 3596166 w 6495043"/>
              <a:gd name="connsiteY20" fmla="*/ 3263766 h 3792510"/>
              <a:gd name="connsiteX21" fmla="*/ 4523741 w 6495043"/>
              <a:gd name="connsiteY21" fmla="*/ 3792510 h 3792510"/>
              <a:gd name="connsiteX0" fmla="*/ 5848209 w 5848209"/>
              <a:gd name="connsiteY0" fmla="*/ 2695006 h 3792510"/>
              <a:gd name="connsiteX1" fmla="*/ 3942484 w 5848209"/>
              <a:gd name="connsiteY1" fmla="*/ 2950823 h 3792510"/>
              <a:gd name="connsiteX2" fmla="*/ 4049574 w 5848209"/>
              <a:gd name="connsiteY2" fmla="*/ 1440420 h 3792510"/>
              <a:gd name="connsiteX3" fmla="*/ 3726964 w 5848209"/>
              <a:gd name="connsiteY3" fmla="*/ 1014604 h 3792510"/>
              <a:gd name="connsiteX4" fmla="*/ 3055347 w 5848209"/>
              <a:gd name="connsiteY4" fmla="*/ 2309 h 3792510"/>
              <a:gd name="connsiteX5" fmla="*/ 2744860 w 5848209"/>
              <a:gd name="connsiteY5" fmla="*/ 731405 h 3792510"/>
              <a:gd name="connsiteX6" fmla="*/ 2417008 w 5848209"/>
              <a:gd name="connsiteY6" fmla="*/ 513311 h 3792510"/>
              <a:gd name="connsiteX7" fmla="*/ 2448181 w 5848209"/>
              <a:gd name="connsiteY7" fmla="*/ 115861 h 3792510"/>
              <a:gd name="connsiteX8" fmla="*/ 1863599 w 5848209"/>
              <a:gd name="connsiteY8" fmla="*/ 66128 h 3792510"/>
              <a:gd name="connsiteX9" fmla="*/ 1583138 w 5848209"/>
              <a:gd name="connsiteY9" fmla="*/ 404209 h 3792510"/>
              <a:gd name="connsiteX10" fmla="*/ 936304 w 5848209"/>
              <a:gd name="connsiteY10" fmla="*/ 638003 h 3792510"/>
              <a:gd name="connsiteX11" fmla="*/ 421953 w 5848209"/>
              <a:gd name="connsiteY11" fmla="*/ 1051043 h 3792510"/>
              <a:gd name="connsiteX12" fmla="*/ 40088 w 5848209"/>
              <a:gd name="connsiteY12" fmla="*/ 1292630 h 3792510"/>
              <a:gd name="connsiteX13" fmla="*/ 8915 w 5848209"/>
              <a:gd name="connsiteY13" fmla="*/ 1838153 h 3792510"/>
              <a:gd name="connsiteX14" fmla="*/ 110227 w 5848209"/>
              <a:gd name="connsiteY14" fmla="*/ 2204432 h 3792510"/>
              <a:gd name="connsiteX15" fmla="*/ 211538 w 5848209"/>
              <a:gd name="connsiteY15" fmla="*/ 2781128 h 3792510"/>
              <a:gd name="connsiteX16" fmla="*/ 906909 w 5848209"/>
              <a:gd name="connsiteY16" fmla="*/ 2672140 h 3792510"/>
              <a:gd name="connsiteX17" fmla="*/ 1933832 w 5848209"/>
              <a:gd name="connsiteY17" fmla="*/ 2383676 h 3792510"/>
              <a:gd name="connsiteX18" fmla="*/ 2331283 w 5848209"/>
              <a:gd name="connsiteY18" fmla="*/ 2843474 h 3792510"/>
              <a:gd name="connsiteX19" fmla="*/ 2533905 w 5848209"/>
              <a:gd name="connsiteY19" fmla="*/ 2570711 h 3792510"/>
              <a:gd name="connsiteX20" fmla="*/ 3596166 w 5848209"/>
              <a:gd name="connsiteY20" fmla="*/ 3263766 h 3792510"/>
              <a:gd name="connsiteX21" fmla="*/ 4523741 w 5848209"/>
              <a:gd name="connsiteY21" fmla="*/ 3792510 h 3792510"/>
              <a:gd name="connsiteX0" fmla="*/ 5848209 w 5848209"/>
              <a:gd name="connsiteY0" fmla="*/ 2695006 h 3792510"/>
              <a:gd name="connsiteX1" fmla="*/ 4160693 w 5848209"/>
              <a:gd name="connsiteY1" fmla="*/ 1657155 h 3792510"/>
              <a:gd name="connsiteX2" fmla="*/ 4049574 w 5848209"/>
              <a:gd name="connsiteY2" fmla="*/ 1440420 h 3792510"/>
              <a:gd name="connsiteX3" fmla="*/ 3726964 w 5848209"/>
              <a:gd name="connsiteY3" fmla="*/ 1014604 h 3792510"/>
              <a:gd name="connsiteX4" fmla="*/ 3055347 w 5848209"/>
              <a:gd name="connsiteY4" fmla="*/ 2309 h 3792510"/>
              <a:gd name="connsiteX5" fmla="*/ 2744860 w 5848209"/>
              <a:gd name="connsiteY5" fmla="*/ 731405 h 3792510"/>
              <a:gd name="connsiteX6" fmla="*/ 2417008 w 5848209"/>
              <a:gd name="connsiteY6" fmla="*/ 513311 h 3792510"/>
              <a:gd name="connsiteX7" fmla="*/ 2448181 w 5848209"/>
              <a:gd name="connsiteY7" fmla="*/ 115861 h 3792510"/>
              <a:gd name="connsiteX8" fmla="*/ 1863599 w 5848209"/>
              <a:gd name="connsiteY8" fmla="*/ 66128 h 3792510"/>
              <a:gd name="connsiteX9" fmla="*/ 1583138 w 5848209"/>
              <a:gd name="connsiteY9" fmla="*/ 404209 h 3792510"/>
              <a:gd name="connsiteX10" fmla="*/ 936304 w 5848209"/>
              <a:gd name="connsiteY10" fmla="*/ 638003 h 3792510"/>
              <a:gd name="connsiteX11" fmla="*/ 421953 w 5848209"/>
              <a:gd name="connsiteY11" fmla="*/ 1051043 h 3792510"/>
              <a:gd name="connsiteX12" fmla="*/ 40088 w 5848209"/>
              <a:gd name="connsiteY12" fmla="*/ 1292630 h 3792510"/>
              <a:gd name="connsiteX13" fmla="*/ 8915 w 5848209"/>
              <a:gd name="connsiteY13" fmla="*/ 1838153 h 3792510"/>
              <a:gd name="connsiteX14" fmla="*/ 110227 w 5848209"/>
              <a:gd name="connsiteY14" fmla="*/ 2204432 h 3792510"/>
              <a:gd name="connsiteX15" fmla="*/ 211538 w 5848209"/>
              <a:gd name="connsiteY15" fmla="*/ 2781128 h 3792510"/>
              <a:gd name="connsiteX16" fmla="*/ 906909 w 5848209"/>
              <a:gd name="connsiteY16" fmla="*/ 2672140 h 3792510"/>
              <a:gd name="connsiteX17" fmla="*/ 1933832 w 5848209"/>
              <a:gd name="connsiteY17" fmla="*/ 2383676 h 3792510"/>
              <a:gd name="connsiteX18" fmla="*/ 2331283 w 5848209"/>
              <a:gd name="connsiteY18" fmla="*/ 2843474 h 3792510"/>
              <a:gd name="connsiteX19" fmla="*/ 2533905 w 5848209"/>
              <a:gd name="connsiteY19" fmla="*/ 2570711 h 3792510"/>
              <a:gd name="connsiteX20" fmla="*/ 3596166 w 5848209"/>
              <a:gd name="connsiteY20" fmla="*/ 3263766 h 3792510"/>
              <a:gd name="connsiteX21" fmla="*/ 4523741 w 5848209"/>
              <a:gd name="connsiteY21" fmla="*/ 3792510 h 3792510"/>
              <a:gd name="connsiteX0" fmla="*/ 5848209 w 5848209"/>
              <a:gd name="connsiteY0" fmla="*/ 2695006 h 3792510"/>
              <a:gd name="connsiteX1" fmla="*/ 4160693 w 5848209"/>
              <a:gd name="connsiteY1" fmla="*/ 1657155 h 3792510"/>
              <a:gd name="connsiteX2" fmla="*/ 3726964 w 5848209"/>
              <a:gd name="connsiteY2" fmla="*/ 1014604 h 3792510"/>
              <a:gd name="connsiteX3" fmla="*/ 3055347 w 5848209"/>
              <a:gd name="connsiteY3" fmla="*/ 2309 h 3792510"/>
              <a:gd name="connsiteX4" fmla="*/ 2744860 w 5848209"/>
              <a:gd name="connsiteY4" fmla="*/ 731405 h 3792510"/>
              <a:gd name="connsiteX5" fmla="*/ 2417008 w 5848209"/>
              <a:gd name="connsiteY5" fmla="*/ 513311 h 3792510"/>
              <a:gd name="connsiteX6" fmla="*/ 2448181 w 5848209"/>
              <a:gd name="connsiteY6" fmla="*/ 115861 h 3792510"/>
              <a:gd name="connsiteX7" fmla="*/ 1863599 w 5848209"/>
              <a:gd name="connsiteY7" fmla="*/ 66128 h 3792510"/>
              <a:gd name="connsiteX8" fmla="*/ 1583138 w 5848209"/>
              <a:gd name="connsiteY8" fmla="*/ 404209 h 3792510"/>
              <a:gd name="connsiteX9" fmla="*/ 936304 w 5848209"/>
              <a:gd name="connsiteY9" fmla="*/ 638003 h 3792510"/>
              <a:gd name="connsiteX10" fmla="*/ 421953 w 5848209"/>
              <a:gd name="connsiteY10" fmla="*/ 1051043 h 3792510"/>
              <a:gd name="connsiteX11" fmla="*/ 40088 w 5848209"/>
              <a:gd name="connsiteY11" fmla="*/ 1292630 h 3792510"/>
              <a:gd name="connsiteX12" fmla="*/ 8915 w 5848209"/>
              <a:gd name="connsiteY12" fmla="*/ 1838153 h 3792510"/>
              <a:gd name="connsiteX13" fmla="*/ 110227 w 5848209"/>
              <a:gd name="connsiteY13" fmla="*/ 2204432 h 3792510"/>
              <a:gd name="connsiteX14" fmla="*/ 211538 w 5848209"/>
              <a:gd name="connsiteY14" fmla="*/ 2781128 h 3792510"/>
              <a:gd name="connsiteX15" fmla="*/ 906909 w 5848209"/>
              <a:gd name="connsiteY15" fmla="*/ 2672140 h 3792510"/>
              <a:gd name="connsiteX16" fmla="*/ 1933832 w 5848209"/>
              <a:gd name="connsiteY16" fmla="*/ 2383676 h 3792510"/>
              <a:gd name="connsiteX17" fmla="*/ 2331283 w 5848209"/>
              <a:gd name="connsiteY17" fmla="*/ 2843474 h 3792510"/>
              <a:gd name="connsiteX18" fmla="*/ 2533905 w 5848209"/>
              <a:gd name="connsiteY18" fmla="*/ 2570711 h 3792510"/>
              <a:gd name="connsiteX19" fmla="*/ 3596166 w 5848209"/>
              <a:gd name="connsiteY19" fmla="*/ 3263766 h 3792510"/>
              <a:gd name="connsiteX20" fmla="*/ 4523741 w 5848209"/>
              <a:gd name="connsiteY20" fmla="*/ 3792510 h 3792510"/>
              <a:gd name="connsiteX0" fmla="*/ 7032773 w 7032773"/>
              <a:gd name="connsiteY0" fmla="*/ 536294 h 3792510"/>
              <a:gd name="connsiteX1" fmla="*/ 4160693 w 7032773"/>
              <a:gd name="connsiteY1" fmla="*/ 1657155 h 3792510"/>
              <a:gd name="connsiteX2" fmla="*/ 3726964 w 7032773"/>
              <a:gd name="connsiteY2" fmla="*/ 1014604 h 3792510"/>
              <a:gd name="connsiteX3" fmla="*/ 3055347 w 7032773"/>
              <a:gd name="connsiteY3" fmla="*/ 2309 h 3792510"/>
              <a:gd name="connsiteX4" fmla="*/ 2744860 w 7032773"/>
              <a:gd name="connsiteY4" fmla="*/ 731405 h 3792510"/>
              <a:gd name="connsiteX5" fmla="*/ 2417008 w 7032773"/>
              <a:gd name="connsiteY5" fmla="*/ 513311 h 3792510"/>
              <a:gd name="connsiteX6" fmla="*/ 2448181 w 7032773"/>
              <a:gd name="connsiteY6" fmla="*/ 115861 h 3792510"/>
              <a:gd name="connsiteX7" fmla="*/ 1863599 w 7032773"/>
              <a:gd name="connsiteY7" fmla="*/ 66128 h 3792510"/>
              <a:gd name="connsiteX8" fmla="*/ 1583138 w 7032773"/>
              <a:gd name="connsiteY8" fmla="*/ 404209 h 3792510"/>
              <a:gd name="connsiteX9" fmla="*/ 936304 w 7032773"/>
              <a:gd name="connsiteY9" fmla="*/ 638003 h 3792510"/>
              <a:gd name="connsiteX10" fmla="*/ 421953 w 7032773"/>
              <a:gd name="connsiteY10" fmla="*/ 1051043 h 3792510"/>
              <a:gd name="connsiteX11" fmla="*/ 40088 w 7032773"/>
              <a:gd name="connsiteY11" fmla="*/ 1292630 h 3792510"/>
              <a:gd name="connsiteX12" fmla="*/ 8915 w 7032773"/>
              <a:gd name="connsiteY12" fmla="*/ 1838153 h 3792510"/>
              <a:gd name="connsiteX13" fmla="*/ 110227 w 7032773"/>
              <a:gd name="connsiteY13" fmla="*/ 2204432 h 3792510"/>
              <a:gd name="connsiteX14" fmla="*/ 211538 w 7032773"/>
              <a:gd name="connsiteY14" fmla="*/ 2781128 h 3792510"/>
              <a:gd name="connsiteX15" fmla="*/ 906909 w 7032773"/>
              <a:gd name="connsiteY15" fmla="*/ 2672140 h 3792510"/>
              <a:gd name="connsiteX16" fmla="*/ 1933832 w 7032773"/>
              <a:gd name="connsiteY16" fmla="*/ 2383676 h 3792510"/>
              <a:gd name="connsiteX17" fmla="*/ 2331283 w 7032773"/>
              <a:gd name="connsiteY17" fmla="*/ 2843474 h 3792510"/>
              <a:gd name="connsiteX18" fmla="*/ 2533905 w 7032773"/>
              <a:gd name="connsiteY18" fmla="*/ 2570711 h 3792510"/>
              <a:gd name="connsiteX19" fmla="*/ 3596166 w 7032773"/>
              <a:gd name="connsiteY19" fmla="*/ 3263766 h 3792510"/>
              <a:gd name="connsiteX20" fmla="*/ 4523741 w 7032773"/>
              <a:gd name="connsiteY20" fmla="*/ 3792510 h 3792510"/>
              <a:gd name="connsiteX0" fmla="*/ 7032773 w 7032773"/>
              <a:gd name="connsiteY0" fmla="*/ 536294 h 3297740"/>
              <a:gd name="connsiteX1" fmla="*/ 4160693 w 7032773"/>
              <a:gd name="connsiteY1" fmla="*/ 1657155 h 3297740"/>
              <a:gd name="connsiteX2" fmla="*/ 3726964 w 7032773"/>
              <a:gd name="connsiteY2" fmla="*/ 1014604 h 3297740"/>
              <a:gd name="connsiteX3" fmla="*/ 3055347 w 7032773"/>
              <a:gd name="connsiteY3" fmla="*/ 2309 h 3297740"/>
              <a:gd name="connsiteX4" fmla="*/ 2744860 w 7032773"/>
              <a:gd name="connsiteY4" fmla="*/ 731405 h 3297740"/>
              <a:gd name="connsiteX5" fmla="*/ 2417008 w 7032773"/>
              <a:gd name="connsiteY5" fmla="*/ 513311 h 3297740"/>
              <a:gd name="connsiteX6" fmla="*/ 2448181 w 7032773"/>
              <a:gd name="connsiteY6" fmla="*/ 115861 h 3297740"/>
              <a:gd name="connsiteX7" fmla="*/ 1863599 w 7032773"/>
              <a:gd name="connsiteY7" fmla="*/ 66128 h 3297740"/>
              <a:gd name="connsiteX8" fmla="*/ 1583138 w 7032773"/>
              <a:gd name="connsiteY8" fmla="*/ 404209 h 3297740"/>
              <a:gd name="connsiteX9" fmla="*/ 936304 w 7032773"/>
              <a:gd name="connsiteY9" fmla="*/ 638003 h 3297740"/>
              <a:gd name="connsiteX10" fmla="*/ 421953 w 7032773"/>
              <a:gd name="connsiteY10" fmla="*/ 1051043 h 3297740"/>
              <a:gd name="connsiteX11" fmla="*/ 40088 w 7032773"/>
              <a:gd name="connsiteY11" fmla="*/ 1292630 h 3297740"/>
              <a:gd name="connsiteX12" fmla="*/ 8915 w 7032773"/>
              <a:gd name="connsiteY12" fmla="*/ 1838153 h 3297740"/>
              <a:gd name="connsiteX13" fmla="*/ 110227 w 7032773"/>
              <a:gd name="connsiteY13" fmla="*/ 2204432 h 3297740"/>
              <a:gd name="connsiteX14" fmla="*/ 211538 w 7032773"/>
              <a:gd name="connsiteY14" fmla="*/ 2781128 h 3297740"/>
              <a:gd name="connsiteX15" fmla="*/ 906909 w 7032773"/>
              <a:gd name="connsiteY15" fmla="*/ 2672140 h 3297740"/>
              <a:gd name="connsiteX16" fmla="*/ 1933832 w 7032773"/>
              <a:gd name="connsiteY16" fmla="*/ 2383676 h 3297740"/>
              <a:gd name="connsiteX17" fmla="*/ 2331283 w 7032773"/>
              <a:gd name="connsiteY17" fmla="*/ 2843474 h 3297740"/>
              <a:gd name="connsiteX18" fmla="*/ 2533905 w 7032773"/>
              <a:gd name="connsiteY18" fmla="*/ 2570711 h 3297740"/>
              <a:gd name="connsiteX19" fmla="*/ 3596166 w 7032773"/>
              <a:gd name="connsiteY19" fmla="*/ 3263766 h 3297740"/>
              <a:gd name="connsiteX20" fmla="*/ 6316173 w 7032773"/>
              <a:gd name="connsiteY20" fmla="*/ 2078010 h 3297740"/>
              <a:gd name="connsiteX0" fmla="*/ 7032773 w 7032773"/>
              <a:gd name="connsiteY0" fmla="*/ 536294 h 3297740"/>
              <a:gd name="connsiteX1" fmla="*/ 4160693 w 7032773"/>
              <a:gd name="connsiteY1" fmla="*/ 1657155 h 3297740"/>
              <a:gd name="connsiteX2" fmla="*/ 3726964 w 7032773"/>
              <a:gd name="connsiteY2" fmla="*/ 1014604 h 3297740"/>
              <a:gd name="connsiteX3" fmla="*/ 3055347 w 7032773"/>
              <a:gd name="connsiteY3" fmla="*/ 2309 h 3297740"/>
              <a:gd name="connsiteX4" fmla="*/ 2744860 w 7032773"/>
              <a:gd name="connsiteY4" fmla="*/ 731405 h 3297740"/>
              <a:gd name="connsiteX5" fmla="*/ 2417008 w 7032773"/>
              <a:gd name="connsiteY5" fmla="*/ 513311 h 3297740"/>
              <a:gd name="connsiteX6" fmla="*/ 2448181 w 7032773"/>
              <a:gd name="connsiteY6" fmla="*/ 115861 h 3297740"/>
              <a:gd name="connsiteX7" fmla="*/ 1863599 w 7032773"/>
              <a:gd name="connsiteY7" fmla="*/ 66128 h 3297740"/>
              <a:gd name="connsiteX8" fmla="*/ 1583138 w 7032773"/>
              <a:gd name="connsiteY8" fmla="*/ 404209 h 3297740"/>
              <a:gd name="connsiteX9" fmla="*/ 936304 w 7032773"/>
              <a:gd name="connsiteY9" fmla="*/ 638003 h 3297740"/>
              <a:gd name="connsiteX10" fmla="*/ 421953 w 7032773"/>
              <a:gd name="connsiteY10" fmla="*/ 1051043 h 3297740"/>
              <a:gd name="connsiteX11" fmla="*/ 40088 w 7032773"/>
              <a:gd name="connsiteY11" fmla="*/ 1292630 h 3297740"/>
              <a:gd name="connsiteX12" fmla="*/ 8915 w 7032773"/>
              <a:gd name="connsiteY12" fmla="*/ 1838153 h 3297740"/>
              <a:gd name="connsiteX13" fmla="*/ 110227 w 7032773"/>
              <a:gd name="connsiteY13" fmla="*/ 2204432 h 3297740"/>
              <a:gd name="connsiteX14" fmla="*/ 211538 w 7032773"/>
              <a:gd name="connsiteY14" fmla="*/ 2781128 h 3297740"/>
              <a:gd name="connsiteX15" fmla="*/ 906909 w 7032773"/>
              <a:gd name="connsiteY15" fmla="*/ 2672140 h 3297740"/>
              <a:gd name="connsiteX16" fmla="*/ 1933832 w 7032773"/>
              <a:gd name="connsiteY16" fmla="*/ 2383676 h 3297740"/>
              <a:gd name="connsiteX17" fmla="*/ 2331283 w 7032773"/>
              <a:gd name="connsiteY17" fmla="*/ 2843474 h 3297740"/>
              <a:gd name="connsiteX18" fmla="*/ 2533905 w 7032773"/>
              <a:gd name="connsiteY18" fmla="*/ 2570711 h 3297740"/>
              <a:gd name="connsiteX19" fmla="*/ 3596166 w 7032773"/>
              <a:gd name="connsiteY19" fmla="*/ 3263766 h 3297740"/>
              <a:gd name="connsiteX20" fmla="*/ 5152414 w 7032773"/>
              <a:gd name="connsiteY20" fmla="*/ 2578506 h 3297740"/>
              <a:gd name="connsiteX21" fmla="*/ 6316173 w 7032773"/>
              <a:gd name="connsiteY21" fmla="*/ 2078010 h 3297740"/>
              <a:gd name="connsiteX0" fmla="*/ 7032773 w 7032773"/>
              <a:gd name="connsiteY0" fmla="*/ 536294 h 3297740"/>
              <a:gd name="connsiteX1" fmla="*/ 4160693 w 7032773"/>
              <a:gd name="connsiteY1" fmla="*/ 1657155 h 3297740"/>
              <a:gd name="connsiteX2" fmla="*/ 3726964 w 7032773"/>
              <a:gd name="connsiteY2" fmla="*/ 1014604 h 3297740"/>
              <a:gd name="connsiteX3" fmla="*/ 3055347 w 7032773"/>
              <a:gd name="connsiteY3" fmla="*/ 2309 h 3297740"/>
              <a:gd name="connsiteX4" fmla="*/ 2744860 w 7032773"/>
              <a:gd name="connsiteY4" fmla="*/ 731405 h 3297740"/>
              <a:gd name="connsiteX5" fmla="*/ 2417008 w 7032773"/>
              <a:gd name="connsiteY5" fmla="*/ 513311 h 3297740"/>
              <a:gd name="connsiteX6" fmla="*/ 2448181 w 7032773"/>
              <a:gd name="connsiteY6" fmla="*/ 115861 h 3297740"/>
              <a:gd name="connsiteX7" fmla="*/ 1863599 w 7032773"/>
              <a:gd name="connsiteY7" fmla="*/ 66128 h 3297740"/>
              <a:gd name="connsiteX8" fmla="*/ 1583138 w 7032773"/>
              <a:gd name="connsiteY8" fmla="*/ 404209 h 3297740"/>
              <a:gd name="connsiteX9" fmla="*/ 936304 w 7032773"/>
              <a:gd name="connsiteY9" fmla="*/ 638003 h 3297740"/>
              <a:gd name="connsiteX10" fmla="*/ 421953 w 7032773"/>
              <a:gd name="connsiteY10" fmla="*/ 1051043 h 3297740"/>
              <a:gd name="connsiteX11" fmla="*/ 40088 w 7032773"/>
              <a:gd name="connsiteY11" fmla="*/ 1292630 h 3297740"/>
              <a:gd name="connsiteX12" fmla="*/ 8915 w 7032773"/>
              <a:gd name="connsiteY12" fmla="*/ 1838153 h 3297740"/>
              <a:gd name="connsiteX13" fmla="*/ 110227 w 7032773"/>
              <a:gd name="connsiteY13" fmla="*/ 2204432 h 3297740"/>
              <a:gd name="connsiteX14" fmla="*/ 211538 w 7032773"/>
              <a:gd name="connsiteY14" fmla="*/ 2781128 h 3297740"/>
              <a:gd name="connsiteX15" fmla="*/ 906909 w 7032773"/>
              <a:gd name="connsiteY15" fmla="*/ 2672140 h 3297740"/>
              <a:gd name="connsiteX16" fmla="*/ 1933832 w 7032773"/>
              <a:gd name="connsiteY16" fmla="*/ 2383676 h 3297740"/>
              <a:gd name="connsiteX17" fmla="*/ 2331283 w 7032773"/>
              <a:gd name="connsiteY17" fmla="*/ 2843474 h 3297740"/>
              <a:gd name="connsiteX18" fmla="*/ 2533905 w 7032773"/>
              <a:gd name="connsiteY18" fmla="*/ 2570711 h 3297740"/>
              <a:gd name="connsiteX19" fmla="*/ 3596166 w 7032773"/>
              <a:gd name="connsiteY19" fmla="*/ 3263766 h 3297740"/>
              <a:gd name="connsiteX20" fmla="*/ 4310751 w 7032773"/>
              <a:gd name="connsiteY20" fmla="*/ 2235606 h 3297740"/>
              <a:gd name="connsiteX21" fmla="*/ 6316173 w 7032773"/>
              <a:gd name="connsiteY21" fmla="*/ 2078010 h 3297740"/>
              <a:gd name="connsiteX0" fmla="*/ 7048359 w 7048359"/>
              <a:gd name="connsiteY0" fmla="*/ 3318459 h 3318769"/>
              <a:gd name="connsiteX1" fmla="*/ 4160693 w 7048359"/>
              <a:gd name="connsiteY1" fmla="*/ 1657155 h 3318769"/>
              <a:gd name="connsiteX2" fmla="*/ 3726964 w 7048359"/>
              <a:gd name="connsiteY2" fmla="*/ 1014604 h 3318769"/>
              <a:gd name="connsiteX3" fmla="*/ 3055347 w 7048359"/>
              <a:gd name="connsiteY3" fmla="*/ 2309 h 3318769"/>
              <a:gd name="connsiteX4" fmla="*/ 2744860 w 7048359"/>
              <a:gd name="connsiteY4" fmla="*/ 731405 h 3318769"/>
              <a:gd name="connsiteX5" fmla="*/ 2417008 w 7048359"/>
              <a:gd name="connsiteY5" fmla="*/ 513311 h 3318769"/>
              <a:gd name="connsiteX6" fmla="*/ 2448181 w 7048359"/>
              <a:gd name="connsiteY6" fmla="*/ 115861 h 3318769"/>
              <a:gd name="connsiteX7" fmla="*/ 1863599 w 7048359"/>
              <a:gd name="connsiteY7" fmla="*/ 66128 h 3318769"/>
              <a:gd name="connsiteX8" fmla="*/ 1583138 w 7048359"/>
              <a:gd name="connsiteY8" fmla="*/ 404209 h 3318769"/>
              <a:gd name="connsiteX9" fmla="*/ 936304 w 7048359"/>
              <a:gd name="connsiteY9" fmla="*/ 638003 h 3318769"/>
              <a:gd name="connsiteX10" fmla="*/ 421953 w 7048359"/>
              <a:gd name="connsiteY10" fmla="*/ 1051043 h 3318769"/>
              <a:gd name="connsiteX11" fmla="*/ 40088 w 7048359"/>
              <a:gd name="connsiteY11" fmla="*/ 1292630 h 3318769"/>
              <a:gd name="connsiteX12" fmla="*/ 8915 w 7048359"/>
              <a:gd name="connsiteY12" fmla="*/ 1838153 h 3318769"/>
              <a:gd name="connsiteX13" fmla="*/ 110227 w 7048359"/>
              <a:gd name="connsiteY13" fmla="*/ 2204432 h 3318769"/>
              <a:gd name="connsiteX14" fmla="*/ 211538 w 7048359"/>
              <a:gd name="connsiteY14" fmla="*/ 2781128 h 3318769"/>
              <a:gd name="connsiteX15" fmla="*/ 906909 w 7048359"/>
              <a:gd name="connsiteY15" fmla="*/ 2672140 h 3318769"/>
              <a:gd name="connsiteX16" fmla="*/ 1933832 w 7048359"/>
              <a:gd name="connsiteY16" fmla="*/ 2383676 h 3318769"/>
              <a:gd name="connsiteX17" fmla="*/ 2331283 w 7048359"/>
              <a:gd name="connsiteY17" fmla="*/ 2843474 h 3318769"/>
              <a:gd name="connsiteX18" fmla="*/ 2533905 w 7048359"/>
              <a:gd name="connsiteY18" fmla="*/ 2570711 h 3318769"/>
              <a:gd name="connsiteX19" fmla="*/ 3596166 w 7048359"/>
              <a:gd name="connsiteY19" fmla="*/ 3263766 h 3318769"/>
              <a:gd name="connsiteX20" fmla="*/ 4310751 w 7048359"/>
              <a:gd name="connsiteY20" fmla="*/ 2235606 h 3318769"/>
              <a:gd name="connsiteX21" fmla="*/ 6316173 w 7048359"/>
              <a:gd name="connsiteY21" fmla="*/ 2078010 h 3318769"/>
              <a:gd name="connsiteX0" fmla="*/ 7048359 w 7048359"/>
              <a:gd name="connsiteY0" fmla="*/ 3508264 h 3508574"/>
              <a:gd name="connsiteX1" fmla="*/ 4160693 w 7048359"/>
              <a:gd name="connsiteY1" fmla="*/ 1846960 h 3508574"/>
              <a:gd name="connsiteX2" fmla="*/ 3726964 w 7048359"/>
              <a:gd name="connsiteY2" fmla="*/ 1204409 h 3508574"/>
              <a:gd name="connsiteX3" fmla="*/ 3055347 w 7048359"/>
              <a:gd name="connsiteY3" fmla="*/ 192114 h 3508574"/>
              <a:gd name="connsiteX4" fmla="*/ 2744860 w 7048359"/>
              <a:gd name="connsiteY4" fmla="*/ 921210 h 3508574"/>
              <a:gd name="connsiteX5" fmla="*/ 2417008 w 7048359"/>
              <a:gd name="connsiteY5" fmla="*/ 703116 h 3508574"/>
              <a:gd name="connsiteX6" fmla="*/ 2448181 w 7048359"/>
              <a:gd name="connsiteY6" fmla="*/ 305666 h 3508574"/>
              <a:gd name="connsiteX7" fmla="*/ 1863599 w 7048359"/>
              <a:gd name="connsiteY7" fmla="*/ 255933 h 3508574"/>
              <a:gd name="connsiteX8" fmla="*/ 1583138 w 7048359"/>
              <a:gd name="connsiteY8" fmla="*/ 594014 h 3508574"/>
              <a:gd name="connsiteX9" fmla="*/ 936304 w 7048359"/>
              <a:gd name="connsiteY9" fmla="*/ 827808 h 3508574"/>
              <a:gd name="connsiteX10" fmla="*/ 421953 w 7048359"/>
              <a:gd name="connsiteY10" fmla="*/ 1240848 h 3508574"/>
              <a:gd name="connsiteX11" fmla="*/ 40088 w 7048359"/>
              <a:gd name="connsiteY11" fmla="*/ 1482435 h 3508574"/>
              <a:gd name="connsiteX12" fmla="*/ 8915 w 7048359"/>
              <a:gd name="connsiteY12" fmla="*/ 2027958 h 3508574"/>
              <a:gd name="connsiteX13" fmla="*/ 110227 w 7048359"/>
              <a:gd name="connsiteY13" fmla="*/ 2394237 h 3508574"/>
              <a:gd name="connsiteX14" fmla="*/ 211538 w 7048359"/>
              <a:gd name="connsiteY14" fmla="*/ 2970933 h 3508574"/>
              <a:gd name="connsiteX15" fmla="*/ 906909 w 7048359"/>
              <a:gd name="connsiteY15" fmla="*/ 2861945 h 3508574"/>
              <a:gd name="connsiteX16" fmla="*/ 1933832 w 7048359"/>
              <a:gd name="connsiteY16" fmla="*/ 2573481 h 3508574"/>
              <a:gd name="connsiteX17" fmla="*/ 2331283 w 7048359"/>
              <a:gd name="connsiteY17" fmla="*/ 3033279 h 3508574"/>
              <a:gd name="connsiteX18" fmla="*/ 2533905 w 7048359"/>
              <a:gd name="connsiteY18" fmla="*/ 2760516 h 3508574"/>
              <a:gd name="connsiteX19" fmla="*/ 3596166 w 7048359"/>
              <a:gd name="connsiteY19" fmla="*/ 3453571 h 3508574"/>
              <a:gd name="connsiteX20" fmla="*/ 4310751 w 7048359"/>
              <a:gd name="connsiteY20" fmla="*/ 2425411 h 3508574"/>
              <a:gd name="connsiteX21" fmla="*/ 6643487 w 7048359"/>
              <a:gd name="connsiteY21" fmla="*/ 0 h 3508574"/>
              <a:gd name="connsiteX0" fmla="*/ 7048359 w 7048359"/>
              <a:gd name="connsiteY0" fmla="*/ 3508264 h 3508574"/>
              <a:gd name="connsiteX1" fmla="*/ 4160693 w 7048359"/>
              <a:gd name="connsiteY1" fmla="*/ 1846960 h 3508574"/>
              <a:gd name="connsiteX2" fmla="*/ 3726964 w 7048359"/>
              <a:gd name="connsiteY2" fmla="*/ 1204409 h 3508574"/>
              <a:gd name="connsiteX3" fmla="*/ 3055347 w 7048359"/>
              <a:gd name="connsiteY3" fmla="*/ 192114 h 3508574"/>
              <a:gd name="connsiteX4" fmla="*/ 2744860 w 7048359"/>
              <a:gd name="connsiteY4" fmla="*/ 921210 h 3508574"/>
              <a:gd name="connsiteX5" fmla="*/ 2417008 w 7048359"/>
              <a:gd name="connsiteY5" fmla="*/ 703116 h 3508574"/>
              <a:gd name="connsiteX6" fmla="*/ 2448181 w 7048359"/>
              <a:gd name="connsiteY6" fmla="*/ 305666 h 3508574"/>
              <a:gd name="connsiteX7" fmla="*/ 1863599 w 7048359"/>
              <a:gd name="connsiteY7" fmla="*/ 255933 h 3508574"/>
              <a:gd name="connsiteX8" fmla="*/ 1583138 w 7048359"/>
              <a:gd name="connsiteY8" fmla="*/ 594014 h 3508574"/>
              <a:gd name="connsiteX9" fmla="*/ 936304 w 7048359"/>
              <a:gd name="connsiteY9" fmla="*/ 827808 h 3508574"/>
              <a:gd name="connsiteX10" fmla="*/ 421953 w 7048359"/>
              <a:gd name="connsiteY10" fmla="*/ 1240848 h 3508574"/>
              <a:gd name="connsiteX11" fmla="*/ 40088 w 7048359"/>
              <a:gd name="connsiteY11" fmla="*/ 1482435 h 3508574"/>
              <a:gd name="connsiteX12" fmla="*/ 8915 w 7048359"/>
              <a:gd name="connsiteY12" fmla="*/ 2027958 h 3508574"/>
              <a:gd name="connsiteX13" fmla="*/ 110227 w 7048359"/>
              <a:gd name="connsiteY13" fmla="*/ 2394237 h 3508574"/>
              <a:gd name="connsiteX14" fmla="*/ 211538 w 7048359"/>
              <a:gd name="connsiteY14" fmla="*/ 2970933 h 3508574"/>
              <a:gd name="connsiteX15" fmla="*/ 906909 w 7048359"/>
              <a:gd name="connsiteY15" fmla="*/ 2861945 h 3508574"/>
              <a:gd name="connsiteX16" fmla="*/ 1933832 w 7048359"/>
              <a:gd name="connsiteY16" fmla="*/ 2573481 h 3508574"/>
              <a:gd name="connsiteX17" fmla="*/ 2331283 w 7048359"/>
              <a:gd name="connsiteY17" fmla="*/ 3033279 h 3508574"/>
              <a:gd name="connsiteX18" fmla="*/ 2533905 w 7048359"/>
              <a:gd name="connsiteY18" fmla="*/ 2760516 h 3508574"/>
              <a:gd name="connsiteX19" fmla="*/ 3596166 w 7048359"/>
              <a:gd name="connsiteY19" fmla="*/ 3453571 h 3508574"/>
              <a:gd name="connsiteX20" fmla="*/ 4256198 w 7048359"/>
              <a:gd name="connsiteY20" fmla="*/ 2222789 h 3508574"/>
              <a:gd name="connsiteX21" fmla="*/ 6643487 w 7048359"/>
              <a:gd name="connsiteY21" fmla="*/ 0 h 3508574"/>
              <a:gd name="connsiteX0" fmla="*/ 7048359 w 7048359"/>
              <a:gd name="connsiteY0" fmla="*/ 3508264 h 3508574"/>
              <a:gd name="connsiteX1" fmla="*/ 4160693 w 7048359"/>
              <a:gd name="connsiteY1" fmla="*/ 1846960 h 3508574"/>
              <a:gd name="connsiteX2" fmla="*/ 3726964 w 7048359"/>
              <a:gd name="connsiteY2" fmla="*/ 1204409 h 3508574"/>
              <a:gd name="connsiteX3" fmla="*/ 3055347 w 7048359"/>
              <a:gd name="connsiteY3" fmla="*/ 192114 h 3508574"/>
              <a:gd name="connsiteX4" fmla="*/ 2744860 w 7048359"/>
              <a:gd name="connsiteY4" fmla="*/ 921210 h 3508574"/>
              <a:gd name="connsiteX5" fmla="*/ 2417008 w 7048359"/>
              <a:gd name="connsiteY5" fmla="*/ 703116 h 3508574"/>
              <a:gd name="connsiteX6" fmla="*/ 2448181 w 7048359"/>
              <a:gd name="connsiteY6" fmla="*/ 305666 h 3508574"/>
              <a:gd name="connsiteX7" fmla="*/ 1863599 w 7048359"/>
              <a:gd name="connsiteY7" fmla="*/ 255933 h 3508574"/>
              <a:gd name="connsiteX8" fmla="*/ 1583138 w 7048359"/>
              <a:gd name="connsiteY8" fmla="*/ 594014 h 3508574"/>
              <a:gd name="connsiteX9" fmla="*/ 936304 w 7048359"/>
              <a:gd name="connsiteY9" fmla="*/ 827808 h 3508574"/>
              <a:gd name="connsiteX10" fmla="*/ 421953 w 7048359"/>
              <a:gd name="connsiteY10" fmla="*/ 1240848 h 3508574"/>
              <a:gd name="connsiteX11" fmla="*/ 40088 w 7048359"/>
              <a:gd name="connsiteY11" fmla="*/ 1482435 h 3508574"/>
              <a:gd name="connsiteX12" fmla="*/ 8915 w 7048359"/>
              <a:gd name="connsiteY12" fmla="*/ 2027958 h 3508574"/>
              <a:gd name="connsiteX13" fmla="*/ 110227 w 7048359"/>
              <a:gd name="connsiteY13" fmla="*/ 2394237 h 3508574"/>
              <a:gd name="connsiteX14" fmla="*/ 211538 w 7048359"/>
              <a:gd name="connsiteY14" fmla="*/ 2970933 h 3508574"/>
              <a:gd name="connsiteX15" fmla="*/ 906909 w 7048359"/>
              <a:gd name="connsiteY15" fmla="*/ 2861945 h 3508574"/>
              <a:gd name="connsiteX16" fmla="*/ 1933832 w 7048359"/>
              <a:gd name="connsiteY16" fmla="*/ 2573481 h 3508574"/>
              <a:gd name="connsiteX17" fmla="*/ 2331283 w 7048359"/>
              <a:gd name="connsiteY17" fmla="*/ 3033279 h 3508574"/>
              <a:gd name="connsiteX18" fmla="*/ 2533905 w 7048359"/>
              <a:gd name="connsiteY18" fmla="*/ 2760516 h 3508574"/>
              <a:gd name="connsiteX19" fmla="*/ 3596166 w 7048359"/>
              <a:gd name="connsiteY19" fmla="*/ 3453571 h 3508574"/>
              <a:gd name="connsiteX20" fmla="*/ 4256198 w 7048359"/>
              <a:gd name="connsiteY20" fmla="*/ 2222789 h 3508574"/>
              <a:gd name="connsiteX21" fmla="*/ 6643487 w 7048359"/>
              <a:gd name="connsiteY21" fmla="*/ 0 h 3508574"/>
              <a:gd name="connsiteX0" fmla="*/ 7048359 w 7048359"/>
              <a:gd name="connsiteY0" fmla="*/ 3508264 h 3508574"/>
              <a:gd name="connsiteX1" fmla="*/ 4160693 w 7048359"/>
              <a:gd name="connsiteY1" fmla="*/ 1846960 h 3508574"/>
              <a:gd name="connsiteX2" fmla="*/ 3726964 w 7048359"/>
              <a:gd name="connsiteY2" fmla="*/ 1204409 h 3508574"/>
              <a:gd name="connsiteX3" fmla="*/ 3055347 w 7048359"/>
              <a:gd name="connsiteY3" fmla="*/ 192114 h 3508574"/>
              <a:gd name="connsiteX4" fmla="*/ 2744860 w 7048359"/>
              <a:gd name="connsiteY4" fmla="*/ 921210 h 3508574"/>
              <a:gd name="connsiteX5" fmla="*/ 2417008 w 7048359"/>
              <a:gd name="connsiteY5" fmla="*/ 703116 h 3508574"/>
              <a:gd name="connsiteX6" fmla="*/ 2448181 w 7048359"/>
              <a:gd name="connsiteY6" fmla="*/ 305666 h 3508574"/>
              <a:gd name="connsiteX7" fmla="*/ 1863599 w 7048359"/>
              <a:gd name="connsiteY7" fmla="*/ 255933 h 3508574"/>
              <a:gd name="connsiteX8" fmla="*/ 1583138 w 7048359"/>
              <a:gd name="connsiteY8" fmla="*/ 594014 h 3508574"/>
              <a:gd name="connsiteX9" fmla="*/ 936304 w 7048359"/>
              <a:gd name="connsiteY9" fmla="*/ 827808 h 3508574"/>
              <a:gd name="connsiteX10" fmla="*/ 421953 w 7048359"/>
              <a:gd name="connsiteY10" fmla="*/ 1240848 h 3508574"/>
              <a:gd name="connsiteX11" fmla="*/ 40088 w 7048359"/>
              <a:gd name="connsiteY11" fmla="*/ 1482435 h 3508574"/>
              <a:gd name="connsiteX12" fmla="*/ 8915 w 7048359"/>
              <a:gd name="connsiteY12" fmla="*/ 2027958 h 3508574"/>
              <a:gd name="connsiteX13" fmla="*/ 110227 w 7048359"/>
              <a:gd name="connsiteY13" fmla="*/ 2394237 h 3508574"/>
              <a:gd name="connsiteX14" fmla="*/ 211538 w 7048359"/>
              <a:gd name="connsiteY14" fmla="*/ 2970933 h 3508574"/>
              <a:gd name="connsiteX15" fmla="*/ 906909 w 7048359"/>
              <a:gd name="connsiteY15" fmla="*/ 2861945 h 3508574"/>
              <a:gd name="connsiteX16" fmla="*/ 1933832 w 7048359"/>
              <a:gd name="connsiteY16" fmla="*/ 2573481 h 3508574"/>
              <a:gd name="connsiteX17" fmla="*/ 2331283 w 7048359"/>
              <a:gd name="connsiteY17" fmla="*/ 3033279 h 3508574"/>
              <a:gd name="connsiteX18" fmla="*/ 2533905 w 7048359"/>
              <a:gd name="connsiteY18" fmla="*/ 2760516 h 3508574"/>
              <a:gd name="connsiteX19" fmla="*/ 3596166 w 7048359"/>
              <a:gd name="connsiteY19" fmla="*/ 3453571 h 3508574"/>
              <a:gd name="connsiteX20" fmla="*/ 4045782 w 7048359"/>
              <a:gd name="connsiteY20" fmla="*/ 2978727 h 3508574"/>
              <a:gd name="connsiteX21" fmla="*/ 4256198 w 7048359"/>
              <a:gd name="connsiteY21" fmla="*/ 2222789 h 3508574"/>
              <a:gd name="connsiteX22" fmla="*/ 6643487 w 7048359"/>
              <a:gd name="connsiteY22" fmla="*/ 0 h 3508574"/>
              <a:gd name="connsiteX0" fmla="*/ 7048359 w 7048359"/>
              <a:gd name="connsiteY0" fmla="*/ 3508264 h 3508574"/>
              <a:gd name="connsiteX1" fmla="*/ 4160693 w 7048359"/>
              <a:gd name="connsiteY1" fmla="*/ 1846960 h 3508574"/>
              <a:gd name="connsiteX2" fmla="*/ 3726964 w 7048359"/>
              <a:gd name="connsiteY2" fmla="*/ 1204409 h 3508574"/>
              <a:gd name="connsiteX3" fmla="*/ 3055347 w 7048359"/>
              <a:gd name="connsiteY3" fmla="*/ 192114 h 3508574"/>
              <a:gd name="connsiteX4" fmla="*/ 2744860 w 7048359"/>
              <a:gd name="connsiteY4" fmla="*/ 921210 h 3508574"/>
              <a:gd name="connsiteX5" fmla="*/ 2417008 w 7048359"/>
              <a:gd name="connsiteY5" fmla="*/ 703116 h 3508574"/>
              <a:gd name="connsiteX6" fmla="*/ 2448181 w 7048359"/>
              <a:gd name="connsiteY6" fmla="*/ 305666 h 3508574"/>
              <a:gd name="connsiteX7" fmla="*/ 1863599 w 7048359"/>
              <a:gd name="connsiteY7" fmla="*/ 255933 h 3508574"/>
              <a:gd name="connsiteX8" fmla="*/ 1583138 w 7048359"/>
              <a:gd name="connsiteY8" fmla="*/ 594014 h 3508574"/>
              <a:gd name="connsiteX9" fmla="*/ 936304 w 7048359"/>
              <a:gd name="connsiteY9" fmla="*/ 827808 h 3508574"/>
              <a:gd name="connsiteX10" fmla="*/ 421953 w 7048359"/>
              <a:gd name="connsiteY10" fmla="*/ 1240848 h 3508574"/>
              <a:gd name="connsiteX11" fmla="*/ 40088 w 7048359"/>
              <a:gd name="connsiteY11" fmla="*/ 1482435 h 3508574"/>
              <a:gd name="connsiteX12" fmla="*/ 8915 w 7048359"/>
              <a:gd name="connsiteY12" fmla="*/ 2027958 h 3508574"/>
              <a:gd name="connsiteX13" fmla="*/ 110227 w 7048359"/>
              <a:gd name="connsiteY13" fmla="*/ 2394237 h 3508574"/>
              <a:gd name="connsiteX14" fmla="*/ 211538 w 7048359"/>
              <a:gd name="connsiteY14" fmla="*/ 2970933 h 3508574"/>
              <a:gd name="connsiteX15" fmla="*/ 906909 w 7048359"/>
              <a:gd name="connsiteY15" fmla="*/ 2861945 h 3508574"/>
              <a:gd name="connsiteX16" fmla="*/ 1933832 w 7048359"/>
              <a:gd name="connsiteY16" fmla="*/ 2573481 h 3508574"/>
              <a:gd name="connsiteX17" fmla="*/ 2331283 w 7048359"/>
              <a:gd name="connsiteY17" fmla="*/ 3033279 h 3508574"/>
              <a:gd name="connsiteX18" fmla="*/ 2533905 w 7048359"/>
              <a:gd name="connsiteY18" fmla="*/ 2760516 h 3508574"/>
              <a:gd name="connsiteX19" fmla="*/ 3596166 w 7048359"/>
              <a:gd name="connsiteY19" fmla="*/ 3453571 h 3508574"/>
              <a:gd name="connsiteX20" fmla="*/ 3967850 w 7048359"/>
              <a:gd name="connsiteY20" fmla="*/ 2885209 h 3508574"/>
              <a:gd name="connsiteX21" fmla="*/ 4256198 w 7048359"/>
              <a:gd name="connsiteY21" fmla="*/ 2222789 h 3508574"/>
              <a:gd name="connsiteX22" fmla="*/ 6643487 w 7048359"/>
              <a:gd name="connsiteY22" fmla="*/ 0 h 3508574"/>
              <a:gd name="connsiteX0" fmla="*/ 7048359 w 7048359"/>
              <a:gd name="connsiteY0" fmla="*/ 3508264 h 3508574"/>
              <a:gd name="connsiteX1" fmla="*/ 4160693 w 7048359"/>
              <a:gd name="connsiteY1" fmla="*/ 1846960 h 3508574"/>
              <a:gd name="connsiteX2" fmla="*/ 3726964 w 7048359"/>
              <a:gd name="connsiteY2" fmla="*/ 1204409 h 3508574"/>
              <a:gd name="connsiteX3" fmla="*/ 3055347 w 7048359"/>
              <a:gd name="connsiteY3" fmla="*/ 192114 h 3508574"/>
              <a:gd name="connsiteX4" fmla="*/ 2744860 w 7048359"/>
              <a:gd name="connsiteY4" fmla="*/ 921210 h 3508574"/>
              <a:gd name="connsiteX5" fmla="*/ 2417008 w 7048359"/>
              <a:gd name="connsiteY5" fmla="*/ 703116 h 3508574"/>
              <a:gd name="connsiteX6" fmla="*/ 2448181 w 7048359"/>
              <a:gd name="connsiteY6" fmla="*/ 305666 h 3508574"/>
              <a:gd name="connsiteX7" fmla="*/ 1863599 w 7048359"/>
              <a:gd name="connsiteY7" fmla="*/ 255933 h 3508574"/>
              <a:gd name="connsiteX8" fmla="*/ 1583138 w 7048359"/>
              <a:gd name="connsiteY8" fmla="*/ 594014 h 3508574"/>
              <a:gd name="connsiteX9" fmla="*/ 936304 w 7048359"/>
              <a:gd name="connsiteY9" fmla="*/ 827808 h 3508574"/>
              <a:gd name="connsiteX10" fmla="*/ 421953 w 7048359"/>
              <a:gd name="connsiteY10" fmla="*/ 1240848 h 3508574"/>
              <a:gd name="connsiteX11" fmla="*/ 40088 w 7048359"/>
              <a:gd name="connsiteY11" fmla="*/ 1482435 h 3508574"/>
              <a:gd name="connsiteX12" fmla="*/ 8915 w 7048359"/>
              <a:gd name="connsiteY12" fmla="*/ 2027958 h 3508574"/>
              <a:gd name="connsiteX13" fmla="*/ 110227 w 7048359"/>
              <a:gd name="connsiteY13" fmla="*/ 2394237 h 3508574"/>
              <a:gd name="connsiteX14" fmla="*/ 211538 w 7048359"/>
              <a:gd name="connsiteY14" fmla="*/ 2970933 h 3508574"/>
              <a:gd name="connsiteX15" fmla="*/ 906909 w 7048359"/>
              <a:gd name="connsiteY15" fmla="*/ 2861945 h 3508574"/>
              <a:gd name="connsiteX16" fmla="*/ 1933832 w 7048359"/>
              <a:gd name="connsiteY16" fmla="*/ 2573481 h 3508574"/>
              <a:gd name="connsiteX17" fmla="*/ 2331283 w 7048359"/>
              <a:gd name="connsiteY17" fmla="*/ 3033279 h 3508574"/>
              <a:gd name="connsiteX18" fmla="*/ 2533905 w 7048359"/>
              <a:gd name="connsiteY18" fmla="*/ 2760516 h 3508574"/>
              <a:gd name="connsiteX19" fmla="*/ 3596166 w 7048359"/>
              <a:gd name="connsiteY19" fmla="*/ 3453571 h 3508574"/>
              <a:gd name="connsiteX20" fmla="*/ 3967850 w 7048359"/>
              <a:gd name="connsiteY20" fmla="*/ 2885209 h 3508574"/>
              <a:gd name="connsiteX21" fmla="*/ 4256198 w 7048359"/>
              <a:gd name="connsiteY21" fmla="*/ 2222789 h 3508574"/>
              <a:gd name="connsiteX22" fmla="*/ 6643487 w 7048359"/>
              <a:gd name="connsiteY22" fmla="*/ 0 h 3508574"/>
              <a:gd name="connsiteX0" fmla="*/ 7048359 w 7048359"/>
              <a:gd name="connsiteY0" fmla="*/ 3508264 h 3508574"/>
              <a:gd name="connsiteX1" fmla="*/ 4160693 w 7048359"/>
              <a:gd name="connsiteY1" fmla="*/ 1846960 h 3508574"/>
              <a:gd name="connsiteX2" fmla="*/ 3726964 w 7048359"/>
              <a:gd name="connsiteY2" fmla="*/ 1204409 h 3508574"/>
              <a:gd name="connsiteX3" fmla="*/ 3055347 w 7048359"/>
              <a:gd name="connsiteY3" fmla="*/ 192114 h 3508574"/>
              <a:gd name="connsiteX4" fmla="*/ 2744860 w 7048359"/>
              <a:gd name="connsiteY4" fmla="*/ 921210 h 3508574"/>
              <a:gd name="connsiteX5" fmla="*/ 2417008 w 7048359"/>
              <a:gd name="connsiteY5" fmla="*/ 703116 h 3508574"/>
              <a:gd name="connsiteX6" fmla="*/ 2448181 w 7048359"/>
              <a:gd name="connsiteY6" fmla="*/ 305666 h 3508574"/>
              <a:gd name="connsiteX7" fmla="*/ 1863599 w 7048359"/>
              <a:gd name="connsiteY7" fmla="*/ 255933 h 3508574"/>
              <a:gd name="connsiteX8" fmla="*/ 1583138 w 7048359"/>
              <a:gd name="connsiteY8" fmla="*/ 594014 h 3508574"/>
              <a:gd name="connsiteX9" fmla="*/ 936304 w 7048359"/>
              <a:gd name="connsiteY9" fmla="*/ 827808 h 3508574"/>
              <a:gd name="connsiteX10" fmla="*/ 421953 w 7048359"/>
              <a:gd name="connsiteY10" fmla="*/ 1240848 h 3508574"/>
              <a:gd name="connsiteX11" fmla="*/ 40088 w 7048359"/>
              <a:gd name="connsiteY11" fmla="*/ 1482435 h 3508574"/>
              <a:gd name="connsiteX12" fmla="*/ 8915 w 7048359"/>
              <a:gd name="connsiteY12" fmla="*/ 2027958 h 3508574"/>
              <a:gd name="connsiteX13" fmla="*/ 110227 w 7048359"/>
              <a:gd name="connsiteY13" fmla="*/ 2394237 h 3508574"/>
              <a:gd name="connsiteX14" fmla="*/ 211538 w 7048359"/>
              <a:gd name="connsiteY14" fmla="*/ 2970933 h 3508574"/>
              <a:gd name="connsiteX15" fmla="*/ 906909 w 7048359"/>
              <a:gd name="connsiteY15" fmla="*/ 2861945 h 3508574"/>
              <a:gd name="connsiteX16" fmla="*/ 1933832 w 7048359"/>
              <a:gd name="connsiteY16" fmla="*/ 2573481 h 3508574"/>
              <a:gd name="connsiteX17" fmla="*/ 2331283 w 7048359"/>
              <a:gd name="connsiteY17" fmla="*/ 3033279 h 3508574"/>
              <a:gd name="connsiteX18" fmla="*/ 2533905 w 7048359"/>
              <a:gd name="connsiteY18" fmla="*/ 2760516 h 3508574"/>
              <a:gd name="connsiteX19" fmla="*/ 3596166 w 7048359"/>
              <a:gd name="connsiteY19" fmla="*/ 3453571 h 3508574"/>
              <a:gd name="connsiteX20" fmla="*/ 3967850 w 7048359"/>
              <a:gd name="connsiteY20" fmla="*/ 2885209 h 3508574"/>
              <a:gd name="connsiteX21" fmla="*/ 4256198 w 7048359"/>
              <a:gd name="connsiteY21" fmla="*/ 2222789 h 3508574"/>
              <a:gd name="connsiteX22" fmla="*/ 6643487 w 7048359"/>
              <a:gd name="connsiteY22" fmla="*/ 0 h 3508574"/>
              <a:gd name="connsiteX0" fmla="*/ 7048359 w 7048359"/>
              <a:gd name="connsiteY0" fmla="*/ 3508264 h 3508574"/>
              <a:gd name="connsiteX1" fmla="*/ 4160693 w 7048359"/>
              <a:gd name="connsiteY1" fmla="*/ 1846960 h 3508574"/>
              <a:gd name="connsiteX2" fmla="*/ 3726964 w 7048359"/>
              <a:gd name="connsiteY2" fmla="*/ 1204409 h 3508574"/>
              <a:gd name="connsiteX3" fmla="*/ 3055347 w 7048359"/>
              <a:gd name="connsiteY3" fmla="*/ 192114 h 3508574"/>
              <a:gd name="connsiteX4" fmla="*/ 2744860 w 7048359"/>
              <a:gd name="connsiteY4" fmla="*/ 921210 h 3508574"/>
              <a:gd name="connsiteX5" fmla="*/ 2417008 w 7048359"/>
              <a:gd name="connsiteY5" fmla="*/ 703116 h 3508574"/>
              <a:gd name="connsiteX6" fmla="*/ 2448181 w 7048359"/>
              <a:gd name="connsiteY6" fmla="*/ 305666 h 3508574"/>
              <a:gd name="connsiteX7" fmla="*/ 1863599 w 7048359"/>
              <a:gd name="connsiteY7" fmla="*/ 255933 h 3508574"/>
              <a:gd name="connsiteX8" fmla="*/ 1583138 w 7048359"/>
              <a:gd name="connsiteY8" fmla="*/ 594014 h 3508574"/>
              <a:gd name="connsiteX9" fmla="*/ 936304 w 7048359"/>
              <a:gd name="connsiteY9" fmla="*/ 827808 h 3508574"/>
              <a:gd name="connsiteX10" fmla="*/ 421953 w 7048359"/>
              <a:gd name="connsiteY10" fmla="*/ 1240848 h 3508574"/>
              <a:gd name="connsiteX11" fmla="*/ 40088 w 7048359"/>
              <a:gd name="connsiteY11" fmla="*/ 1482435 h 3508574"/>
              <a:gd name="connsiteX12" fmla="*/ 8915 w 7048359"/>
              <a:gd name="connsiteY12" fmla="*/ 2027958 h 3508574"/>
              <a:gd name="connsiteX13" fmla="*/ 110227 w 7048359"/>
              <a:gd name="connsiteY13" fmla="*/ 2394237 h 3508574"/>
              <a:gd name="connsiteX14" fmla="*/ 211538 w 7048359"/>
              <a:gd name="connsiteY14" fmla="*/ 2970933 h 3508574"/>
              <a:gd name="connsiteX15" fmla="*/ 906909 w 7048359"/>
              <a:gd name="connsiteY15" fmla="*/ 2861945 h 3508574"/>
              <a:gd name="connsiteX16" fmla="*/ 1933832 w 7048359"/>
              <a:gd name="connsiteY16" fmla="*/ 2573481 h 3508574"/>
              <a:gd name="connsiteX17" fmla="*/ 2331283 w 7048359"/>
              <a:gd name="connsiteY17" fmla="*/ 3033279 h 3508574"/>
              <a:gd name="connsiteX18" fmla="*/ 2533905 w 7048359"/>
              <a:gd name="connsiteY18" fmla="*/ 2760516 h 3508574"/>
              <a:gd name="connsiteX19" fmla="*/ 2658596 w 7048359"/>
              <a:gd name="connsiteY19" fmla="*/ 3337213 h 3508574"/>
              <a:gd name="connsiteX20" fmla="*/ 3596166 w 7048359"/>
              <a:gd name="connsiteY20" fmla="*/ 3453571 h 3508574"/>
              <a:gd name="connsiteX21" fmla="*/ 3967850 w 7048359"/>
              <a:gd name="connsiteY21" fmla="*/ 2885209 h 3508574"/>
              <a:gd name="connsiteX22" fmla="*/ 4256198 w 7048359"/>
              <a:gd name="connsiteY22" fmla="*/ 2222789 h 3508574"/>
              <a:gd name="connsiteX23" fmla="*/ 6643487 w 7048359"/>
              <a:gd name="connsiteY23" fmla="*/ 0 h 3508574"/>
              <a:gd name="connsiteX0" fmla="*/ 7048359 w 7048359"/>
              <a:gd name="connsiteY0" fmla="*/ 3508264 h 3508574"/>
              <a:gd name="connsiteX1" fmla="*/ 4160693 w 7048359"/>
              <a:gd name="connsiteY1" fmla="*/ 1846960 h 3508574"/>
              <a:gd name="connsiteX2" fmla="*/ 3726964 w 7048359"/>
              <a:gd name="connsiteY2" fmla="*/ 1204409 h 3508574"/>
              <a:gd name="connsiteX3" fmla="*/ 3055347 w 7048359"/>
              <a:gd name="connsiteY3" fmla="*/ 192114 h 3508574"/>
              <a:gd name="connsiteX4" fmla="*/ 2744860 w 7048359"/>
              <a:gd name="connsiteY4" fmla="*/ 921210 h 3508574"/>
              <a:gd name="connsiteX5" fmla="*/ 2417008 w 7048359"/>
              <a:gd name="connsiteY5" fmla="*/ 703116 h 3508574"/>
              <a:gd name="connsiteX6" fmla="*/ 2448181 w 7048359"/>
              <a:gd name="connsiteY6" fmla="*/ 305666 h 3508574"/>
              <a:gd name="connsiteX7" fmla="*/ 1863599 w 7048359"/>
              <a:gd name="connsiteY7" fmla="*/ 255933 h 3508574"/>
              <a:gd name="connsiteX8" fmla="*/ 1583138 w 7048359"/>
              <a:gd name="connsiteY8" fmla="*/ 594014 h 3508574"/>
              <a:gd name="connsiteX9" fmla="*/ 936304 w 7048359"/>
              <a:gd name="connsiteY9" fmla="*/ 827808 h 3508574"/>
              <a:gd name="connsiteX10" fmla="*/ 421953 w 7048359"/>
              <a:gd name="connsiteY10" fmla="*/ 1240848 h 3508574"/>
              <a:gd name="connsiteX11" fmla="*/ 40088 w 7048359"/>
              <a:gd name="connsiteY11" fmla="*/ 1482435 h 3508574"/>
              <a:gd name="connsiteX12" fmla="*/ 8915 w 7048359"/>
              <a:gd name="connsiteY12" fmla="*/ 2027958 h 3508574"/>
              <a:gd name="connsiteX13" fmla="*/ 110227 w 7048359"/>
              <a:gd name="connsiteY13" fmla="*/ 2394237 h 3508574"/>
              <a:gd name="connsiteX14" fmla="*/ 211538 w 7048359"/>
              <a:gd name="connsiteY14" fmla="*/ 2970933 h 3508574"/>
              <a:gd name="connsiteX15" fmla="*/ 906909 w 7048359"/>
              <a:gd name="connsiteY15" fmla="*/ 2861945 h 3508574"/>
              <a:gd name="connsiteX16" fmla="*/ 1933832 w 7048359"/>
              <a:gd name="connsiteY16" fmla="*/ 2573481 h 3508574"/>
              <a:gd name="connsiteX17" fmla="*/ 2331283 w 7048359"/>
              <a:gd name="connsiteY17" fmla="*/ 3033279 h 3508574"/>
              <a:gd name="connsiteX18" fmla="*/ 2533905 w 7048359"/>
              <a:gd name="connsiteY18" fmla="*/ 2760516 h 3508574"/>
              <a:gd name="connsiteX19" fmla="*/ 2775494 w 7048359"/>
              <a:gd name="connsiteY19" fmla="*/ 3329420 h 3508574"/>
              <a:gd name="connsiteX20" fmla="*/ 3596166 w 7048359"/>
              <a:gd name="connsiteY20" fmla="*/ 3453571 h 3508574"/>
              <a:gd name="connsiteX21" fmla="*/ 3967850 w 7048359"/>
              <a:gd name="connsiteY21" fmla="*/ 2885209 h 3508574"/>
              <a:gd name="connsiteX22" fmla="*/ 4256198 w 7048359"/>
              <a:gd name="connsiteY22" fmla="*/ 2222789 h 3508574"/>
              <a:gd name="connsiteX23" fmla="*/ 6643487 w 7048359"/>
              <a:gd name="connsiteY23" fmla="*/ 0 h 3508574"/>
              <a:gd name="connsiteX0" fmla="*/ 7048359 w 7048359"/>
              <a:gd name="connsiteY0" fmla="*/ 3508264 h 3510981"/>
              <a:gd name="connsiteX1" fmla="*/ 4160693 w 7048359"/>
              <a:gd name="connsiteY1" fmla="*/ 1846960 h 3510981"/>
              <a:gd name="connsiteX2" fmla="*/ 3726964 w 7048359"/>
              <a:gd name="connsiteY2" fmla="*/ 1204409 h 3510981"/>
              <a:gd name="connsiteX3" fmla="*/ 3055347 w 7048359"/>
              <a:gd name="connsiteY3" fmla="*/ 192114 h 3510981"/>
              <a:gd name="connsiteX4" fmla="*/ 2744860 w 7048359"/>
              <a:gd name="connsiteY4" fmla="*/ 921210 h 3510981"/>
              <a:gd name="connsiteX5" fmla="*/ 2417008 w 7048359"/>
              <a:gd name="connsiteY5" fmla="*/ 703116 h 3510981"/>
              <a:gd name="connsiteX6" fmla="*/ 2448181 w 7048359"/>
              <a:gd name="connsiteY6" fmla="*/ 305666 h 3510981"/>
              <a:gd name="connsiteX7" fmla="*/ 1863599 w 7048359"/>
              <a:gd name="connsiteY7" fmla="*/ 255933 h 3510981"/>
              <a:gd name="connsiteX8" fmla="*/ 1583138 w 7048359"/>
              <a:gd name="connsiteY8" fmla="*/ 594014 h 3510981"/>
              <a:gd name="connsiteX9" fmla="*/ 936304 w 7048359"/>
              <a:gd name="connsiteY9" fmla="*/ 827808 h 3510981"/>
              <a:gd name="connsiteX10" fmla="*/ 421953 w 7048359"/>
              <a:gd name="connsiteY10" fmla="*/ 1240848 h 3510981"/>
              <a:gd name="connsiteX11" fmla="*/ 40088 w 7048359"/>
              <a:gd name="connsiteY11" fmla="*/ 1482435 h 3510981"/>
              <a:gd name="connsiteX12" fmla="*/ 8915 w 7048359"/>
              <a:gd name="connsiteY12" fmla="*/ 2027958 h 3510981"/>
              <a:gd name="connsiteX13" fmla="*/ 110227 w 7048359"/>
              <a:gd name="connsiteY13" fmla="*/ 2394237 h 3510981"/>
              <a:gd name="connsiteX14" fmla="*/ 211538 w 7048359"/>
              <a:gd name="connsiteY14" fmla="*/ 2970933 h 3510981"/>
              <a:gd name="connsiteX15" fmla="*/ 906909 w 7048359"/>
              <a:gd name="connsiteY15" fmla="*/ 2861945 h 3510981"/>
              <a:gd name="connsiteX16" fmla="*/ 1933832 w 7048359"/>
              <a:gd name="connsiteY16" fmla="*/ 2573481 h 3510981"/>
              <a:gd name="connsiteX17" fmla="*/ 2331283 w 7048359"/>
              <a:gd name="connsiteY17" fmla="*/ 3033279 h 3510981"/>
              <a:gd name="connsiteX18" fmla="*/ 2533905 w 7048359"/>
              <a:gd name="connsiteY18" fmla="*/ 2760516 h 3510981"/>
              <a:gd name="connsiteX19" fmla="*/ 2775494 w 7048359"/>
              <a:gd name="connsiteY19" fmla="*/ 3329420 h 3510981"/>
              <a:gd name="connsiteX20" fmla="*/ 3328809 w 7048359"/>
              <a:gd name="connsiteY20" fmla="*/ 3477490 h 3510981"/>
              <a:gd name="connsiteX21" fmla="*/ 3596166 w 7048359"/>
              <a:gd name="connsiteY21" fmla="*/ 3453571 h 3510981"/>
              <a:gd name="connsiteX22" fmla="*/ 3967850 w 7048359"/>
              <a:gd name="connsiteY22" fmla="*/ 2885209 h 3510981"/>
              <a:gd name="connsiteX23" fmla="*/ 4256198 w 7048359"/>
              <a:gd name="connsiteY23" fmla="*/ 2222789 h 3510981"/>
              <a:gd name="connsiteX24" fmla="*/ 6643487 w 7048359"/>
              <a:gd name="connsiteY24" fmla="*/ 0 h 3510981"/>
              <a:gd name="connsiteX0" fmla="*/ 7048359 w 7048359"/>
              <a:gd name="connsiteY0" fmla="*/ 3508264 h 3508574"/>
              <a:gd name="connsiteX1" fmla="*/ 4160693 w 7048359"/>
              <a:gd name="connsiteY1" fmla="*/ 1846960 h 3508574"/>
              <a:gd name="connsiteX2" fmla="*/ 3726964 w 7048359"/>
              <a:gd name="connsiteY2" fmla="*/ 1204409 h 3508574"/>
              <a:gd name="connsiteX3" fmla="*/ 3055347 w 7048359"/>
              <a:gd name="connsiteY3" fmla="*/ 192114 h 3508574"/>
              <a:gd name="connsiteX4" fmla="*/ 2744860 w 7048359"/>
              <a:gd name="connsiteY4" fmla="*/ 921210 h 3508574"/>
              <a:gd name="connsiteX5" fmla="*/ 2417008 w 7048359"/>
              <a:gd name="connsiteY5" fmla="*/ 703116 h 3508574"/>
              <a:gd name="connsiteX6" fmla="*/ 2448181 w 7048359"/>
              <a:gd name="connsiteY6" fmla="*/ 305666 h 3508574"/>
              <a:gd name="connsiteX7" fmla="*/ 1863599 w 7048359"/>
              <a:gd name="connsiteY7" fmla="*/ 255933 h 3508574"/>
              <a:gd name="connsiteX8" fmla="*/ 1583138 w 7048359"/>
              <a:gd name="connsiteY8" fmla="*/ 594014 h 3508574"/>
              <a:gd name="connsiteX9" fmla="*/ 936304 w 7048359"/>
              <a:gd name="connsiteY9" fmla="*/ 827808 h 3508574"/>
              <a:gd name="connsiteX10" fmla="*/ 421953 w 7048359"/>
              <a:gd name="connsiteY10" fmla="*/ 1240848 h 3508574"/>
              <a:gd name="connsiteX11" fmla="*/ 40088 w 7048359"/>
              <a:gd name="connsiteY11" fmla="*/ 1482435 h 3508574"/>
              <a:gd name="connsiteX12" fmla="*/ 8915 w 7048359"/>
              <a:gd name="connsiteY12" fmla="*/ 2027958 h 3508574"/>
              <a:gd name="connsiteX13" fmla="*/ 110227 w 7048359"/>
              <a:gd name="connsiteY13" fmla="*/ 2394237 h 3508574"/>
              <a:gd name="connsiteX14" fmla="*/ 211538 w 7048359"/>
              <a:gd name="connsiteY14" fmla="*/ 2970933 h 3508574"/>
              <a:gd name="connsiteX15" fmla="*/ 906909 w 7048359"/>
              <a:gd name="connsiteY15" fmla="*/ 2861945 h 3508574"/>
              <a:gd name="connsiteX16" fmla="*/ 1933832 w 7048359"/>
              <a:gd name="connsiteY16" fmla="*/ 2573481 h 3508574"/>
              <a:gd name="connsiteX17" fmla="*/ 2331283 w 7048359"/>
              <a:gd name="connsiteY17" fmla="*/ 3033279 h 3508574"/>
              <a:gd name="connsiteX18" fmla="*/ 2533905 w 7048359"/>
              <a:gd name="connsiteY18" fmla="*/ 2760516 h 3508574"/>
              <a:gd name="connsiteX19" fmla="*/ 2775494 w 7048359"/>
              <a:gd name="connsiteY19" fmla="*/ 3329420 h 3508574"/>
              <a:gd name="connsiteX20" fmla="*/ 3336602 w 7048359"/>
              <a:gd name="connsiteY20" fmla="*/ 3415145 h 3508574"/>
              <a:gd name="connsiteX21" fmla="*/ 3596166 w 7048359"/>
              <a:gd name="connsiteY21" fmla="*/ 3453571 h 3508574"/>
              <a:gd name="connsiteX22" fmla="*/ 3967850 w 7048359"/>
              <a:gd name="connsiteY22" fmla="*/ 2885209 h 3508574"/>
              <a:gd name="connsiteX23" fmla="*/ 4256198 w 7048359"/>
              <a:gd name="connsiteY23" fmla="*/ 2222789 h 3508574"/>
              <a:gd name="connsiteX24" fmla="*/ 6643487 w 7048359"/>
              <a:gd name="connsiteY24" fmla="*/ 0 h 3508574"/>
              <a:gd name="connsiteX0" fmla="*/ 7048359 w 7048359"/>
              <a:gd name="connsiteY0" fmla="*/ 3508264 h 3508574"/>
              <a:gd name="connsiteX1" fmla="*/ 4160693 w 7048359"/>
              <a:gd name="connsiteY1" fmla="*/ 1846960 h 3508574"/>
              <a:gd name="connsiteX2" fmla="*/ 3726964 w 7048359"/>
              <a:gd name="connsiteY2" fmla="*/ 1204409 h 3508574"/>
              <a:gd name="connsiteX3" fmla="*/ 3055347 w 7048359"/>
              <a:gd name="connsiteY3" fmla="*/ 192114 h 3508574"/>
              <a:gd name="connsiteX4" fmla="*/ 2744860 w 7048359"/>
              <a:gd name="connsiteY4" fmla="*/ 921210 h 3508574"/>
              <a:gd name="connsiteX5" fmla="*/ 2417008 w 7048359"/>
              <a:gd name="connsiteY5" fmla="*/ 703116 h 3508574"/>
              <a:gd name="connsiteX6" fmla="*/ 2448181 w 7048359"/>
              <a:gd name="connsiteY6" fmla="*/ 305666 h 3508574"/>
              <a:gd name="connsiteX7" fmla="*/ 1863599 w 7048359"/>
              <a:gd name="connsiteY7" fmla="*/ 255933 h 3508574"/>
              <a:gd name="connsiteX8" fmla="*/ 1583138 w 7048359"/>
              <a:gd name="connsiteY8" fmla="*/ 594014 h 3508574"/>
              <a:gd name="connsiteX9" fmla="*/ 936304 w 7048359"/>
              <a:gd name="connsiteY9" fmla="*/ 827808 h 3508574"/>
              <a:gd name="connsiteX10" fmla="*/ 421953 w 7048359"/>
              <a:gd name="connsiteY10" fmla="*/ 1240848 h 3508574"/>
              <a:gd name="connsiteX11" fmla="*/ 40088 w 7048359"/>
              <a:gd name="connsiteY11" fmla="*/ 1482435 h 3508574"/>
              <a:gd name="connsiteX12" fmla="*/ 8915 w 7048359"/>
              <a:gd name="connsiteY12" fmla="*/ 2027958 h 3508574"/>
              <a:gd name="connsiteX13" fmla="*/ 110227 w 7048359"/>
              <a:gd name="connsiteY13" fmla="*/ 2394237 h 3508574"/>
              <a:gd name="connsiteX14" fmla="*/ 211538 w 7048359"/>
              <a:gd name="connsiteY14" fmla="*/ 2970933 h 3508574"/>
              <a:gd name="connsiteX15" fmla="*/ 906909 w 7048359"/>
              <a:gd name="connsiteY15" fmla="*/ 2861945 h 3508574"/>
              <a:gd name="connsiteX16" fmla="*/ 1933832 w 7048359"/>
              <a:gd name="connsiteY16" fmla="*/ 2573481 h 3508574"/>
              <a:gd name="connsiteX17" fmla="*/ 2331283 w 7048359"/>
              <a:gd name="connsiteY17" fmla="*/ 3033279 h 3508574"/>
              <a:gd name="connsiteX18" fmla="*/ 2533905 w 7048359"/>
              <a:gd name="connsiteY18" fmla="*/ 2760516 h 3508574"/>
              <a:gd name="connsiteX19" fmla="*/ 2775494 w 7048359"/>
              <a:gd name="connsiteY19" fmla="*/ 3329420 h 3508574"/>
              <a:gd name="connsiteX20" fmla="*/ 3336602 w 7048359"/>
              <a:gd name="connsiteY20" fmla="*/ 3415145 h 3508574"/>
              <a:gd name="connsiteX21" fmla="*/ 3596166 w 7048359"/>
              <a:gd name="connsiteY21" fmla="*/ 3453571 h 3508574"/>
              <a:gd name="connsiteX22" fmla="*/ 3967850 w 7048359"/>
              <a:gd name="connsiteY22" fmla="*/ 2885209 h 3508574"/>
              <a:gd name="connsiteX23" fmla="*/ 4256198 w 7048359"/>
              <a:gd name="connsiteY23" fmla="*/ 2222789 h 3508574"/>
              <a:gd name="connsiteX24" fmla="*/ 6643487 w 7048359"/>
              <a:gd name="connsiteY24" fmla="*/ 0 h 3508574"/>
              <a:gd name="connsiteX0" fmla="*/ 7048359 w 7048359"/>
              <a:gd name="connsiteY0" fmla="*/ 3508264 h 3534677"/>
              <a:gd name="connsiteX1" fmla="*/ 4160693 w 7048359"/>
              <a:gd name="connsiteY1" fmla="*/ 1846960 h 3534677"/>
              <a:gd name="connsiteX2" fmla="*/ 3726964 w 7048359"/>
              <a:gd name="connsiteY2" fmla="*/ 1204409 h 3534677"/>
              <a:gd name="connsiteX3" fmla="*/ 3055347 w 7048359"/>
              <a:gd name="connsiteY3" fmla="*/ 192114 h 3534677"/>
              <a:gd name="connsiteX4" fmla="*/ 2744860 w 7048359"/>
              <a:gd name="connsiteY4" fmla="*/ 921210 h 3534677"/>
              <a:gd name="connsiteX5" fmla="*/ 2417008 w 7048359"/>
              <a:gd name="connsiteY5" fmla="*/ 703116 h 3534677"/>
              <a:gd name="connsiteX6" fmla="*/ 2448181 w 7048359"/>
              <a:gd name="connsiteY6" fmla="*/ 305666 h 3534677"/>
              <a:gd name="connsiteX7" fmla="*/ 1863599 w 7048359"/>
              <a:gd name="connsiteY7" fmla="*/ 255933 h 3534677"/>
              <a:gd name="connsiteX8" fmla="*/ 1583138 w 7048359"/>
              <a:gd name="connsiteY8" fmla="*/ 594014 h 3534677"/>
              <a:gd name="connsiteX9" fmla="*/ 936304 w 7048359"/>
              <a:gd name="connsiteY9" fmla="*/ 827808 h 3534677"/>
              <a:gd name="connsiteX10" fmla="*/ 421953 w 7048359"/>
              <a:gd name="connsiteY10" fmla="*/ 1240848 h 3534677"/>
              <a:gd name="connsiteX11" fmla="*/ 40088 w 7048359"/>
              <a:gd name="connsiteY11" fmla="*/ 1482435 h 3534677"/>
              <a:gd name="connsiteX12" fmla="*/ 8915 w 7048359"/>
              <a:gd name="connsiteY12" fmla="*/ 2027958 h 3534677"/>
              <a:gd name="connsiteX13" fmla="*/ 110227 w 7048359"/>
              <a:gd name="connsiteY13" fmla="*/ 2394237 h 3534677"/>
              <a:gd name="connsiteX14" fmla="*/ 211538 w 7048359"/>
              <a:gd name="connsiteY14" fmla="*/ 2970933 h 3534677"/>
              <a:gd name="connsiteX15" fmla="*/ 906909 w 7048359"/>
              <a:gd name="connsiteY15" fmla="*/ 2861945 h 3534677"/>
              <a:gd name="connsiteX16" fmla="*/ 1933832 w 7048359"/>
              <a:gd name="connsiteY16" fmla="*/ 2573481 h 3534677"/>
              <a:gd name="connsiteX17" fmla="*/ 2331283 w 7048359"/>
              <a:gd name="connsiteY17" fmla="*/ 3033279 h 3534677"/>
              <a:gd name="connsiteX18" fmla="*/ 2533905 w 7048359"/>
              <a:gd name="connsiteY18" fmla="*/ 2760516 h 3534677"/>
              <a:gd name="connsiteX19" fmla="*/ 2775494 w 7048359"/>
              <a:gd name="connsiteY19" fmla="*/ 3329420 h 3534677"/>
              <a:gd name="connsiteX20" fmla="*/ 3336602 w 7048359"/>
              <a:gd name="connsiteY20" fmla="*/ 3415145 h 3534677"/>
              <a:gd name="connsiteX21" fmla="*/ 3596166 w 7048359"/>
              <a:gd name="connsiteY21" fmla="*/ 3453571 h 3534677"/>
              <a:gd name="connsiteX22" fmla="*/ 3967850 w 7048359"/>
              <a:gd name="connsiteY22" fmla="*/ 2885209 h 3534677"/>
              <a:gd name="connsiteX23" fmla="*/ 4256198 w 7048359"/>
              <a:gd name="connsiteY23" fmla="*/ 2222789 h 3534677"/>
              <a:gd name="connsiteX24" fmla="*/ 6643487 w 7048359"/>
              <a:gd name="connsiteY24" fmla="*/ 0 h 3534677"/>
              <a:gd name="connsiteX0" fmla="*/ 7048359 w 7048359"/>
              <a:gd name="connsiteY0" fmla="*/ 3508264 h 3516894"/>
              <a:gd name="connsiteX1" fmla="*/ 4160693 w 7048359"/>
              <a:gd name="connsiteY1" fmla="*/ 1846960 h 3516894"/>
              <a:gd name="connsiteX2" fmla="*/ 3726964 w 7048359"/>
              <a:gd name="connsiteY2" fmla="*/ 1204409 h 3516894"/>
              <a:gd name="connsiteX3" fmla="*/ 3055347 w 7048359"/>
              <a:gd name="connsiteY3" fmla="*/ 192114 h 3516894"/>
              <a:gd name="connsiteX4" fmla="*/ 2744860 w 7048359"/>
              <a:gd name="connsiteY4" fmla="*/ 921210 h 3516894"/>
              <a:gd name="connsiteX5" fmla="*/ 2417008 w 7048359"/>
              <a:gd name="connsiteY5" fmla="*/ 703116 h 3516894"/>
              <a:gd name="connsiteX6" fmla="*/ 2448181 w 7048359"/>
              <a:gd name="connsiteY6" fmla="*/ 305666 h 3516894"/>
              <a:gd name="connsiteX7" fmla="*/ 1863599 w 7048359"/>
              <a:gd name="connsiteY7" fmla="*/ 255933 h 3516894"/>
              <a:gd name="connsiteX8" fmla="*/ 1583138 w 7048359"/>
              <a:gd name="connsiteY8" fmla="*/ 594014 h 3516894"/>
              <a:gd name="connsiteX9" fmla="*/ 936304 w 7048359"/>
              <a:gd name="connsiteY9" fmla="*/ 827808 h 3516894"/>
              <a:gd name="connsiteX10" fmla="*/ 421953 w 7048359"/>
              <a:gd name="connsiteY10" fmla="*/ 1240848 h 3516894"/>
              <a:gd name="connsiteX11" fmla="*/ 40088 w 7048359"/>
              <a:gd name="connsiteY11" fmla="*/ 1482435 h 3516894"/>
              <a:gd name="connsiteX12" fmla="*/ 8915 w 7048359"/>
              <a:gd name="connsiteY12" fmla="*/ 2027958 h 3516894"/>
              <a:gd name="connsiteX13" fmla="*/ 110227 w 7048359"/>
              <a:gd name="connsiteY13" fmla="*/ 2394237 h 3516894"/>
              <a:gd name="connsiteX14" fmla="*/ 211538 w 7048359"/>
              <a:gd name="connsiteY14" fmla="*/ 2970933 h 3516894"/>
              <a:gd name="connsiteX15" fmla="*/ 906909 w 7048359"/>
              <a:gd name="connsiteY15" fmla="*/ 2861945 h 3516894"/>
              <a:gd name="connsiteX16" fmla="*/ 1933832 w 7048359"/>
              <a:gd name="connsiteY16" fmla="*/ 2573481 h 3516894"/>
              <a:gd name="connsiteX17" fmla="*/ 2331283 w 7048359"/>
              <a:gd name="connsiteY17" fmla="*/ 3033279 h 3516894"/>
              <a:gd name="connsiteX18" fmla="*/ 2533905 w 7048359"/>
              <a:gd name="connsiteY18" fmla="*/ 2760516 h 3516894"/>
              <a:gd name="connsiteX19" fmla="*/ 2775494 w 7048359"/>
              <a:gd name="connsiteY19" fmla="*/ 3329420 h 3516894"/>
              <a:gd name="connsiteX20" fmla="*/ 3336602 w 7048359"/>
              <a:gd name="connsiteY20" fmla="*/ 3415145 h 3516894"/>
              <a:gd name="connsiteX21" fmla="*/ 3588373 w 7048359"/>
              <a:gd name="connsiteY21" fmla="*/ 3414606 h 3516894"/>
              <a:gd name="connsiteX22" fmla="*/ 3967850 w 7048359"/>
              <a:gd name="connsiteY22" fmla="*/ 2885209 h 3516894"/>
              <a:gd name="connsiteX23" fmla="*/ 4256198 w 7048359"/>
              <a:gd name="connsiteY23" fmla="*/ 2222789 h 3516894"/>
              <a:gd name="connsiteX24" fmla="*/ 6643487 w 7048359"/>
              <a:gd name="connsiteY24" fmla="*/ 0 h 3516894"/>
              <a:gd name="connsiteX0" fmla="*/ 7048359 w 7048359"/>
              <a:gd name="connsiteY0" fmla="*/ 3508264 h 3516894"/>
              <a:gd name="connsiteX1" fmla="*/ 4160693 w 7048359"/>
              <a:gd name="connsiteY1" fmla="*/ 1846960 h 3516894"/>
              <a:gd name="connsiteX2" fmla="*/ 3726964 w 7048359"/>
              <a:gd name="connsiteY2" fmla="*/ 1204409 h 3516894"/>
              <a:gd name="connsiteX3" fmla="*/ 3055347 w 7048359"/>
              <a:gd name="connsiteY3" fmla="*/ 192114 h 3516894"/>
              <a:gd name="connsiteX4" fmla="*/ 2744860 w 7048359"/>
              <a:gd name="connsiteY4" fmla="*/ 921210 h 3516894"/>
              <a:gd name="connsiteX5" fmla="*/ 2417008 w 7048359"/>
              <a:gd name="connsiteY5" fmla="*/ 703116 h 3516894"/>
              <a:gd name="connsiteX6" fmla="*/ 2448181 w 7048359"/>
              <a:gd name="connsiteY6" fmla="*/ 305666 h 3516894"/>
              <a:gd name="connsiteX7" fmla="*/ 1863599 w 7048359"/>
              <a:gd name="connsiteY7" fmla="*/ 255933 h 3516894"/>
              <a:gd name="connsiteX8" fmla="*/ 1583138 w 7048359"/>
              <a:gd name="connsiteY8" fmla="*/ 594014 h 3516894"/>
              <a:gd name="connsiteX9" fmla="*/ 936304 w 7048359"/>
              <a:gd name="connsiteY9" fmla="*/ 827808 h 3516894"/>
              <a:gd name="connsiteX10" fmla="*/ 421953 w 7048359"/>
              <a:gd name="connsiteY10" fmla="*/ 1240848 h 3516894"/>
              <a:gd name="connsiteX11" fmla="*/ 40088 w 7048359"/>
              <a:gd name="connsiteY11" fmla="*/ 1482435 h 3516894"/>
              <a:gd name="connsiteX12" fmla="*/ 8915 w 7048359"/>
              <a:gd name="connsiteY12" fmla="*/ 2027958 h 3516894"/>
              <a:gd name="connsiteX13" fmla="*/ 110227 w 7048359"/>
              <a:gd name="connsiteY13" fmla="*/ 2394237 h 3516894"/>
              <a:gd name="connsiteX14" fmla="*/ 211538 w 7048359"/>
              <a:gd name="connsiteY14" fmla="*/ 2970933 h 3516894"/>
              <a:gd name="connsiteX15" fmla="*/ 906909 w 7048359"/>
              <a:gd name="connsiteY15" fmla="*/ 2861945 h 3516894"/>
              <a:gd name="connsiteX16" fmla="*/ 1933832 w 7048359"/>
              <a:gd name="connsiteY16" fmla="*/ 2573481 h 3516894"/>
              <a:gd name="connsiteX17" fmla="*/ 2331283 w 7048359"/>
              <a:gd name="connsiteY17" fmla="*/ 3033279 h 3516894"/>
              <a:gd name="connsiteX18" fmla="*/ 2533905 w 7048359"/>
              <a:gd name="connsiteY18" fmla="*/ 2760516 h 3516894"/>
              <a:gd name="connsiteX19" fmla="*/ 2775494 w 7048359"/>
              <a:gd name="connsiteY19" fmla="*/ 3329420 h 3516894"/>
              <a:gd name="connsiteX20" fmla="*/ 3336602 w 7048359"/>
              <a:gd name="connsiteY20" fmla="*/ 3415145 h 3516894"/>
              <a:gd name="connsiteX21" fmla="*/ 3588373 w 7048359"/>
              <a:gd name="connsiteY21" fmla="*/ 3414606 h 3516894"/>
              <a:gd name="connsiteX22" fmla="*/ 3967850 w 7048359"/>
              <a:gd name="connsiteY22" fmla="*/ 2885209 h 3516894"/>
              <a:gd name="connsiteX23" fmla="*/ 4256198 w 7048359"/>
              <a:gd name="connsiteY23" fmla="*/ 2222789 h 3516894"/>
              <a:gd name="connsiteX24" fmla="*/ 6643487 w 7048359"/>
              <a:gd name="connsiteY24" fmla="*/ 0 h 3516894"/>
              <a:gd name="connsiteX0" fmla="*/ 7048359 w 7048359"/>
              <a:gd name="connsiteY0" fmla="*/ 3508264 h 3508574"/>
              <a:gd name="connsiteX1" fmla="*/ 4160693 w 7048359"/>
              <a:gd name="connsiteY1" fmla="*/ 1846960 h 3508574"/>
              <a:gd name="connsiteX2" fmla="*/ 3726964 w 7048359"/>
              <a:gd name="connsiteY2" fmla="*/ 1204409 h 3508574"/>
              <a:gd name="connsiteX3" fmla="*/ 3055347 w 7048359"/>
              <a:gd name="connsiteY3" fmla="*/ 192114 h 3508574"/>
              <a:gd name="connsiteX4" fmla="*/ 2744860 w 7048359"/>
              <a:gd name="connsiteY4" fmla="*/ 921210 h 3508574"/>
              <a:gd name="connsiteX5" fmla="*/ 2417008 w 7048359"/>
              <a:gd name="connsiteY5" fmla="*/ 703116 h 3508574"/>
              <a:gd name="connsiteX6" fmla="*/ 2448181 w 7048359"/>
              <a:gd name="connsiteY6" fmla="*/ 305666 h 3508574"/>
              <a:gd name="connsiteX7" fmla="*/ 1863599 w 7048359"/>
              <a:gd name="connsiteY7" fmla="*/ 255933 h 3508574"/>
              <a:gd name="connsiteX8" fmla="*/ 1583138 w 7048359"/>
              <a:gd name="connsiteY8" fmla="*/ 594014 h 3508574"/>
              <a:gd name="connsiteX9" fmla="*/ 936304 w 7048359"/>
              <a:gd name="connsiteY9" fmla="*/ 827808 h 3508574"/>
              <a:gd name="connsiteX10" fmla="*/ 421953 w 7048359"/>
              <a:gd name="connsiteY10" fmla="*/ 1240848 h 3508574"/>
              <a:gd name="connsiteX11" fmla="*/ 40088 w 7048359"/>
              <a:gd name="connsiteY11" fmla="*/ 1482435 h 3508574"/>
              <a:gd name="connsiteX12" fmla="*/ 8915 w 7048359"/>
              <a:gd name="connsiteY12" fmla="*/ 2027958 h 3508574"/>
              <a:gd name="connsiteX13" fmla="*/ 110227 w 7048359"/>
              <a:gd name="connsiteY13" fmla="*/ 2394237 h 3508574"/>
              <a:gd name="connsiteX14" fmla="*/ 211538 w 7048359"/>
              <a:gd name="connsiteY14" fmla="*/ 2970933 h 3508574"/>
              <a:gd name="connsiteX15" fmla="*/ 906909 w 7048359"/>
              <a:gd name="connsiteY15" fmla="*/ 2861945 h 3508574"/>
              <a:gd name="connsiteX16" fmla="*/ 1933832 w 7048359"/>
              <a:gd name="connsiteY16" fmla="*/ 2573481 h 3508574"/>
              <a:gd name="connsiteX17" fmla="*/ 2331283 w 7048359"/>
              <a:gd name="connsiteY17" fmla="*/ 3033279 h 3508574"/>
              <a:gd name="connsiteX18" fmla="*/ 2533905 w 7048359"/>
              <a:gd name="connsiteY18" fmla="*/ 2760516 h 3508574"/>
              <a:gd name="connsiteX19" fmla="*/ 2775494 w 7048359"/>
              <a:gd name="connsiteY19" fmla="*/ 3329420 h 3508574"/>
              <a:gd name="connsiteX20" fmla="*/ 3336602 w 7048359"/>
              <a:gd name="connsiteY20" fmla="*/ 3415145 h 3508574"/>
              <a:gd name="connsiteX21" fmla="*/ 3588373 w 7048359"/>
              <a:gd name="connsiteY21" fmla="*/ 3414606 h 3508574"/>
              <a:gd name="connsiteX22" fmla="*/ 3967850 w 7048359"/>
              <a:gd name="connsiteY22" fmla="*/ 2885209 h 3508574"/>
              <a:gd name="connsiteX23" fmla="*/ 4256198 w 7048359"/>
              <a:gd name="connsiteY23" fmla="*/ 2222789 h 3508574"/>
              <a:gd name="connsiteX24" fmla="*/ 6643487 w 7048359"/>
              <a:gd name="connsiteY24" fmla="*/ 0 h 3508574"/>
              <a:gd name="connsiteX0" fmla="*/ 7048359 w 7048359"/>
              <a:gd name="connsiteY0" fmla="*/ 3508264 h 3508574"/>
              <a:gd name="connsiteX1" fmla="*/ 4160693 w 7048359"/>
              <a:gd name="connsiteY1" fmla="*/ 1846960 h 3508574"/>
              <a:gd name="connsiteX2" fmla="*/ 3726964 w 7048359"/>
              <a:gd name="connsiteY2" fmla="*/ 1204409 h 3508574"/>
              <a:gd name="connsiteX3" fmla="*/ 3055347 w 7048359"/>
              <a:gd name="connsiteY3" fmla="*/ 192114 h 3508574"/>
              <a:gd name="connsiteX4" fmla="*/ 2744860 w 7048359"/>
              <a:gd name="connsiteY4" fmla="*/ 921210 h 3508574"/>
              <a:gd name="connsiteX5" fmla="*/ 2417008 w 7048359"/>
              <a:gd name="connsiteY5" fmla="*/ 703116 h 3508574"/>
              <a:gd name="connsiteX6" fmla="*/ 2448181 w 7048359"/>
              <a:gd name="connsiteY6" fmla="*/ 305666 h 3508574"/>
              <a:gd name="connsiteX7" fmla="*/ 1863599 w 7048359"/>
              <a:gd name="connsiteY7" fmla="*/ 255933 h 3508574"/>
              <a:gd name="connsiteX8" fmla="*/ 1583138 w 7048359"/>
              <a:gd name="connsiteY8" fmla="*/ 594014 h 3508574"/>
              <a:gd name="connsiteX9" fmla="*/ 936304 w 7048359"/>
              <a:gd name="connsiteY9" fmla="*/ 827808 h 3508574"/>
              <a:gd name="connsiteX10" fmla="*/ 421953 w 7048359"/>
              <a:gd name="connsiteY10" fmla="*/ 1240848 h 3508574"/>
              <a:gd name="connsiteX11" fmla="*/ 40088 w 7048359"/>
              <a:gd name="connsiteY11" fmla="*/ 1482435 h 3508574"/>
              <a:gd name="connsiteX12" fmla="*/ 8915 w 7048359"/>
              <a:gd name="connsiteY12" fmla="*/ 2027958 h 3508574"/>
              <a:gd name="connsiteX13" fmla="*/ 110227 w 7048359"/>
              <a:gd name="connsiteY13" fmla="*/ 2394237 h 3508574"/>
              <a:gd name="connsiteX14" fmla="*/ 211538 w 7048359"/>
              <a:gd name="connsiteY14" fmla="*/ 2970933 h 3508574"/>
              <a:gd name="connsiteX15" fmla="*/ 906909 w 7048359"/>
              <a:gd name="connsiteY15" fmla="*/ 2861945 h 3508574"/>
              <a:gd name="connsiteX16" fmla="*/ 1933832 w 7048359"/>
              <a:gd name="connsiteY16" fmla="*/ 2573481 h 3508574"/>
              <a:gd name="connsiteX17" fmla="*/ 2331283 w 7048359"/>
              <a:gd name="connsiteY17" fmla="*/ 3033279 h 3508574"/>
              <a:gd name="connsiteX18" fmla="*/ 2533905 w 7048359"/>
              <a:gd name="connsiteY18" fmla="*/ 2760516 h 3508574"/>
              <a:gd name="connsiteX19" fmla="*/ 2775494 w 7048359"/>
              <a:gd name="connsiteY19" fmla="*/ 3329420 h 3508574"/>
              <a:gd name="connsiteX20" fmla="*/ 3336602 w 7048359"/>
              <a:gd name="connsiteY20" fmla="*/ 3415145 h 3508574"/>
              <a:gd name="connsiteX21" fmla="*/ 3588373 w 7048359"/>
              <a:gd name="connsiteY21" fmla="*/ 3414606 h 3508574"/>
              <a:gd name="connsiteX22" fmla="*/ 3967850 w 7048359"/>
              <a:gd name="connsiteY22" fmla="*/ 2885209 h 3508574"/>
              <a:gd name="connsiteX23" fmla="*/ 4256198 w 7048359"/>
              <a:gd name="connsiteY23" fmla="*/ 2222789 h 3508574"/>
              <a:gd name="connsiteX24" fmla="*/ 6643487 w 7048359"/>
              <a:gd name="connsiteY24" fmla="*/ 0 h 3508574"/>
              <a:gd name="connsiteX0" fmla="*/ 7048359 w 7048359"/>
              <a:gd name="connsiteY0" fmla="*/ 3508264 h 3508574"/>
              <a:gd name="connsiteX1" fmla="*/ 4160693 w 7048359"/>
              <a:gd name="connsiteY1" fmla="*/ 1846960 h 3508574"/>
              <a:gd name="connsiteX2" fmla="*/ 3726964 w 7048359"/>
              <a:gd name="connsiteY2" fmla="*/ 1204409 h 3508574"/>
              <a:gd name="connsiteX3" fmla="*/ 3055347 w 7048359"/>
              <a:gd name="connsiteY3" fmla="*/ 192114 h 3508574"/>
              <a:gd name="connsiteX4" fmla="*/ 2744860 w 7048359"/>
              <a:gd name="connsiteY4" fmla="*/ 921210 h 3508574"/>
              <a:gd name="connsiteX5" fmla="*/ 2417008 w 7048359"/>
              <a:gd name="connsiteY5" fmla="*/ 703116 h 3508574"/>
              <a:gd name="connsiteX6" fmla="*/ 2448181 w 7048359"/>
              <a:gd name="connsiteY6" fmla="*/ 305666 h 3508574"/>
              <a:gd name="connsiteX7" fmla="*/ 1863599 w 7048359"/>
              <a:gd name="connsiteY7" fmla="*/ 255933 h 3508574"/>
              <a:gd name="connsiteX8" fmla="*/ 1583138 w 7048359"/>
              <a:gd name="connsiteY8" fmla="*/ 594014 h 3508574"/>
              <a:gd name="connsiteX9" fmla="*/ 936304 w 7048359"/>
              <a:gd name="connsiteY9" fmla="*/ 827808 h 3508574"/>
              <a:gd name="connsiteX10" fmla="*/ 421953 w 7048359"/>
              <a:gd name="connsiteY10" fmla="*/ 1240848 h 3508574"/>
              <a:gd name="connsiteX11" fmla="*/ 40088 w 7048359"/>
              <a:gd name="connsiteY11" fmla="*/ 1482435 h 3508574"/>
              <a:gd name="connsiteX12" fmla="*/ 8915 w 7048359"/>
              <a:gd name="connsiteY12" fmla="*/ 2027958 h 3508574"/>
              <a:gd name="connsiteX13" fmla="*/ 110227 w 7048359"/>
              <a:gd name="connsiteY13" fmla="*/ 2394237 h 3508574"/>
              <a:gd name="connsiteX14" fmla="*/ 211538 w 7048359"/>
              <a:gd name="connsiteY14" fmla="*/ 2970933 h 3508574"/>
              <a:gd name="connsiteX15" fmla="*/ 906909 w 7048359"/>
              <a:gd name="connsiteY15" fmla="*/ 2861945 h 3508574"/>
              <a:gd name="connsiteX16" fmla="*/ 1933832 w 7048359"/>
              <a:gd name="connsiteY16" fmla="*/ 2573481 h 3508574"/>
              <a:gd name="connsiteX17" fmla="*/ 2331283 w 7048359"/>
              <a:gd name="connsiteY17" fmla="*/ 3033279 h 3508574"/>
              <a:gd name="connsiteX18" fmla="*/ 2533905 w 7048359"/>
              <a:gd name="connsiteY18" fmla="*/ 2760516 h 3508574"/>
              <a:gd name="connsiteX19" fmla="*/ 2775494 w 7048359"/>
              <a:gd name="connsiteY19" fmla="*/ 3329420 h 3508574"/>
              <a:gd name="connsiteX20" fmla="*/ 3336602 w 7048359"/>
              <a:gd name="connsiteY20" fmla="*/ 3415145 h 3508574"/>
              <a:gd name="connsiteX21" fmla="*/ 3588373 w 7048359"/>
              <a:gd name="connsiteY21" fmla="*/ 3414606 h 3508574"/>
              <a:gd name="connsiteX22" fmla="*/ 3967850 w 7048359"/>
              <a:gd name="connsiteY22" fmla="*/ 2885209 h 3508574"/>
              <a:gd name="connsiteX23" fmla="*/ 4256198 w 7048359"/>
              <a:gd name="connsiteY23" fmla="*/ 2222789 h 3508574"/>
              <a:gd name="connsiteX24" fmla="*/ 6643487 w 7048359"/>
              <a:gd name="connsiteY24" fmla="*/ 0 h 3508574"/>
              <a:gd name="connsiteX0" fmla="*/ 7048359 w 7048359"/>
              <a:gd name="connsiteY0" fmla="*/ 3508264 h 3508574"/>
              <a:gd name="connsiteX1" fmla="*/ 4160693 w 7048359"/>
              <a:gd name="connsiteY1" fmla="*/ 1846960 h 3508574"/>
              <a:gd name="connsiteX2" fmla="*/ 3726964 w 7048359"/>
              <a:gd name="connsiteY2" fmla="*/ 1204409 h 3508574"/>
              <a:gd name="connsiteX3" fmla="*/ 3055347 w 7048359"/>
              <a:gd name="connsiteY3" fmla="*/ 192114 h 3508574"/>
              <a:gd name="connsiteX4" fmla="*/ 2924103 w 7048359"/>
              <a:gd name="connsiteY4" fmla="*/ 858864 h 3508574"/>
              <a:gd name="connsiteX5" fmla="*/ 2417008 w 7048359"/>
              <a:gd name="connsiteY5" fmla="*/ 703116 h 3508574"/>
              <a:gd name="connsiteX6" fmla="*/ 2448181 w 7048359"/>
              <a:gd name="connsiteY6" fmla="*/ 305666 h 3508574"/>
              <a:gd name="connsiteX7" fmla="*/ 1863599 w 7048359"/>
              <a:gd name="connsiteY7" fmla="*/ 255933 h 3508574"/>
              <a:gd name="connsiteX8" fmla="*/ 1583138 w 7048359"/>
              <a:gd name="connsiteY8" fmla="*/ 594014 h 3508574"/>
              <a:gd name="connsiteX9" fmla="*/ 936304 w 7048359"/>
              <a:gd name="connsiteY9" fmla="*/ 827808 h 3508574"/>
              <a:gd name="connsiteX10" fmla="*/ 421953 w 7048359"/>
              <a:gd name="connsiteY10" fmla="*/ 1240848 h 3508574"/>
              <a:gd name="connsiteX11" fmla="*/ 40088 w 7048359"/>
              <a:gd name="connsiteY11" fmla="*/ 1482435 h 3508574"/>
              <a:gd name="connsiteX12" fmla="*/ 8915 w 7048359"/>
              <a:gd name="connsiteY12" fmla="*/ 2027958 h 3508574"/>
              <a:gd name="connsiteX13" fmla="*/ 110227 w 7048359"/>
              <a:gd name="connsiteY13" fmla="*/ 2394237 h 3508574"/>
              <a:gd name="connsiteX14" fmla="*/ 211538 w 7048359"/>
              <a:gd name="connsiteY14" fmla="*/ 2970933 h 3508574"/>
              <a:gd name="connsiteX15" fmla="*/ 906909 w 7048359"/>
              <a:gd name="connsiteY15" fmla="*/ 2861945 h 3508574"/>
              <a:gd name="connsiteX16" fmla="*/ 1933832 w 7048359"/>
              <a:gd name="connsiteY16" fmla="*/ 2573481 h 3508574"/>
              <a:gd name="connsiteX17" fmla="*/ 2331283 w 7048359"/>
              <a:gd name="connsiteY17" fmla="*/ 3033279 h 3508574"/>
              <a:gd name="connsiteX18" fmla="*/ 2533905 w 7048359"/>
              <a:gd name="connsiteY18" fmla="*/ 2760516 h 3508574"/>
              <a:gd name="connsiteX19" fmla="*/ 2775494 w 7048359"/>
              <a:gd name="connsiteY19" fmla="*/ 3329420 h 3508574"/>
              <a:gd name="connsiteX20" fmla="*/ 3336602 w 7048359"/>
              <a:gd name="connsiteY20" fmla="*/ 3415145 h 3508574"/>
              <a:gd name="connsiteX21" fmla="*/ 3588373 w 7048359"/>
              <a:gd name="connsiteY21" fmla="*/ 3414606 h 3508574"/>
              <a:gd name="connsiteX22" fmla="*/ 3967850 w 7048359"/>
              <a:gd name="connsiteY22" fmla="*/ 2885209 h 3508574"/>
              <a:gd name="connsiteX23" fmla="*/ 4256198 w 7048359"/>
              <a:gd name="connsiteY23" fmla="*/ 2222789 h 3508574"/>
              <a:gd name="connsiteX24" fmla="*/ 6643487 w 7048359"/>
              <a:gd name="connsiteY24" fmla="*/ 0 h 3508574"/>
              <a:gd name="connsiteX0" fmla="*/ 7048359 w 7048359"/>
              <a:gd name="connsiteY0" fmla="*/ 3508264 h 3508595"/>
              <a:gd name="connsiteX1" fmla="*/ 4160693 w 7048359"/>
              <a:gd name="connsiteY1" fmla="*/ 1846960 h 3508595"/>
              <a:gd name="connsiteX2" fmla="*/ 3726964 w 7048359"/>
              <a:gd name="connsiteY2" fmla="*/ 1204409 h 3508595"/>
              <a:gd name="connsiteX3" fmla="*/ 3055347 w 7048359"/>
              <a:gd name="connsiteY3" fmla="*/ 192114 h 3508595"/>
              <a:gd name="connsiteX4" fmla="*/ 2924103 w 7048359"/>
              <a:gd name="connsiteY4" fmla="*/ 858864 h 3508595"/>
              <a:gd name="connsiteX5" fmla="*/ 2417008 w 7048359"/>
              <a:gd name="connsiteY5" fmla="*/ 703116 h 3508595"/>
              <a:gd name="connsiteX6" fmla="*/ 2448181 w 7048359"/>
              <a:gd name="connsiteY6" fmla="*/ 305666 h 3508595"/>
              <a:gd name="connsiteX7" fmla="*/ 1863599 w 7048359"/>
              <a:gd name="connsiteY7" fmla="*/ 255933 h 3508595"/>
              <a:gd name="connsiteX8" fmla="*/ 1583138 w 7048359"/>
              <a:gd name="connsiteY8" fmla="*/ 594014 h 3508595"/>
              <a:gd name="connsiteX9" fmla="*/ 936304 w 7048359"/>
              <a:gd name="connsiteY9" fmla="*/ 827808 h 3508595"/>
              <a:gd name="connsiteX10" fmla="*/ 421953 w 7048359"/>
              <a:gd name="connsiteY10" fmla="*/ 1240848 h 3508595"/>
              <a:gd name="connsiteX11" fmla="*/ 40088 w 7048359"/>
              <a:gd name="connsiteY11" fmla="*/ 1482435 h 3508595"/>
              <a:gd name="connsiteX12" fmla="*/ 8915 w 7048359"/>
              <a:gd name="connsiteY12" fmla="*/ 2027958 h 3508595"/>
              <a:gd name="connsiteX13" fmla="*/ 110227 w 7048359"/>
              <a:gd name="connsiteY13" fmla="*/ 2394237 h 3508595"/>
              <a:gd name="connsiteX14" fmla="*/ 211538 w 7048359"/>
              <a:gd name="connsiteY14" fmla="*/ 2970933 h 3508595"/>
              <a:gd name="connsiteX15" fmla="*/ 906909 w 7048359"/>
              <a:gd name="connsiteY15" fmla="*/ 2861945 h 3508595"/>
              <a:gd name="connsiteX16" fmla="*/ 1933832 w 7048359"/>
              <a:gd name="connsiteY16" fmla="*/ 2573481 h 3508595"/>
              <a:gd name="connsiteX17" fmla="*/ 2331283 w 7048359"/>
              <a:gd name="connsiteY17" fmla="*/ 3033279 h 3508595"/>
              <a:gd name="connsiteX18" fmla="*/ 2533905 w 7048359"/>
              <a:gd name="connsiteY18" fmla="*/ 2760516 h 3508595"/>
              <a:gd name="connsiteX19" fmla="*/ 2775494 w 7048359"/>
              <a:gd name="connsiteY19" fmla="*/ 3329420 h 3508595"/>
              <a:gd name="connsiteX20" fmla="*/ 3336602 w 7048359"/>
              <a:gd name="connsiteY20" fmla="*/ 3415145 h 3508595"/>
              <a:gd name="connsiteX21" fmla="*/ 3588373 w 7048359"/>
              <a:gd name="connsiteY21" fmla="*/ 3414606 h 3508595"/>
              <a:gd name="connsiteX22" fmla="*/ 3967850 w 7048359"/>
              <a:gd name="connsiteY22" fmla="*/ 2885209 h 3508595"/>
              <a:gd name="connsiteX23" fmla="*/ 4256198 w 7048359"/>
              <a:gd name="connsiteY23" fmla="*/ 2222789 h 3508595"/>
              <a:gd name="connsiteX24" fmla="*/ 6643487 w 7048359"/>
              <a:gd name="connsiteY24" fmla="*/ 0 h 3508595"/>
              <a:gd name="connsiteX0" fmla="*/ 7048359 w 7048359"/>
              <a:gd name="connsiteY0" fmla="*/ 3508264 h 3508595"/>
              <a:gd name="connsiteX1" fmla="*/ 4160693 w 7048359"/>
              <a:gd name="connsiteY1" fmla="*/ 1846960 h 3508595"/>
              <a:gd name="connsiteX2" fmla="*/ 3726964 w 7048359"/>
              <a:gd name="connsiteY2" fmla="*/ 1204409 h 3508595"/>
              <a:gd name="connsiteX3" fmla="*/ 3055347 w 7048359"/>
              <a:gd name="connsiteY3" fmla="*/ 192114 h 3508595"/>
              <a:gd name="connsiteX4" fmla="*/ 2924103 w 7048359"/>
              <a:gd name="connsiteY4" fmla="*/ 858864 h 3508595"/>
              <a:gd name="connsiteX5" fmla="*/ 2417008 w 7048359"/>
              <a:gd name="connsiteY5" fmla="*/ 703116 h 3508595"/>
              <a:gd name="connsiteX6" fmla="*/ 2448181 w 7048359"/>
              <a:gd name="connsiteY6" fmla="*/ 305666 h 3508595"/>
              <a:gd name="connsiteX7" fmla="*/ 1863599 w 7048359"/>
              <a:gd name="connsiteY7" fmla="*/ 255933 h 3508595"/>
              <a:gd name="connsiteX8" fmla="*/ 1583138 w 7048359"/>
              <a:gd name="connsiteY8" fmla="*/ 594014 h 3508595"/>
              <a:gd name="connsiteX9" fmla="*/ 936304 w 7048359"/>
              <a:gd name="connsiteY9" fmla="*/ 827808 h 3508595"/>
              <a:gd name="connsiteX10" fmla="*/ 421953 w 7048359"/>
              <a:gd name="connsiteY10" fmla="*/ 1240848 h 3508595"/>
              <a:gd name="connsiteX11" fmla="*/ 40088 w 7048359"/>
              <a:gd name="connsiteY11" fmla="*/ 1482435 h 3508595"/>
              <a:gd name="connsiteX12" fmla="*/ 8915 w 7048359"/>
              <a:gd name="connsiteY12" fmla="*/ 2027958 h 3508595"/>
              <a:gd name="connsiteX13" fmla="*/ 110227 w 7048359"/>
              <a:gd name="connsiteY13" fmla="*/ 2394237 h 3508595"/>
              <a:gd name="connsiteX14" fmla="*/ 211538 w 7048359"/>
              <a:gd name="connsiteY14" fmla="*/ 2970933 h 3508595"/>
              <a:gd name="connsiteX15" fmla="*/ 906909 w 7048359"/>
              <a:gd name="connsiteY15" fmla="*/ 2861945 h 3508595"/>
              <a:gd name="connsiteX16" fmla="*/ 1933832 w 7048359"/>
              <a:gd name="connsiteY16" fmla="*/ 2573481 h 3508595"/>
              <a:gd name="connsiteX17" fmla="*/ 2331283 w 7048359"/>
              <a:gd name="connsiteY17" fmla="*/ 3033279 h 3508595"/>
              <a:gd name="connsiteX18" fmla="*/ 2533905 w 7048359"/>
              <a:gd name="connsiteY18" fmla="*/ 2760516 h 3508595"/>
              <a:gd name="connsiteX19" fmla="*/ 2775494 w 7048359"/>
              <a:gd name="connsiteY19" fmla="*/ 3329420 h 3508595"/>
              <a:gd name="connsiteX20" fmla="*/ 3336602 w 7048359"/>
              <a:gd name="connsiteY20" fmla="*/ 3415145 h 3508595"/>
              <a:gd name="connsiteX21" fmla="*/ 3588373 w 7048359"/>
              <a:gd name="connsiteY21" fmla="*/ 3414606 h 3508595"/>
              <a:gd name="connsiteX22" fmla="*/ 3967850 w 7048359"/>
              <a:gd name="connsiteY22" fmla="*/ 2885209 h 3508595"/>
              <a:gd name="connsiteX23" fmla="*/ 4256198 w 7048359"/>
              <a:gd name="connsiteY23" fmla="*/ 2222789 h 3508595"/>
              <a:gd name="connsiteX24" fmla="*/ 6643487 w 7048359"/>
              <a:gd name="connsiteY24" fmla="*/ 0 h 3508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7048359" h="3508595">
                <a:moveTo>
                  <a:pt x="7048359" y="3508264"/>
                </a:moveTo>
                <a:cubicBezTo>
                  <a:pt x="6826624" y="3531604"/>
                  <a:pt x="4464877" y="2316661"/>
                  <a:pt x="4160693" y="1846960"/>
                </a:cubicBezTo>
                <a:cubicBezTo>
                  <a:pt x="3856509" y="1377259"/>
                  <a:pt x="3911188" y="1480217"/>
                  <a:pt x="3726964" y="1204409"/>
                </a:cubicBezTo>
                <a:cubicBezTo>
                  <a:pt x="3542740" y="928601"/>
                  <a:pt x="3189157" y="249705"/>
                  <a:pt x="3055347" y="192114"/>
                </a:cubicBezTo>
                <a:cubicBezTo>
                  <a:pt x="2921537" y="134523"/>
                  <a:pt x="3030493" y="773697"/>
                  <a:pt x="2924103" y="858864"/>
                </a:cubicBezTo>
                <a:cubicBezTo>
                  <a:pt x="2817713" y="944031"/>
                  <a:pt x="2500225" y="799212"/>
                  <a:pt x="2417008" y="703116"/>
                </a:cubicBezTo>
                <a:cubicBezTo>
                  <a:pt x="2333791" y="607020"/>
                  <a:pt x="2540416" y="380197"/>
                  <a:pt x="2448181" y="305666"/>
                </a:cubicBezTo>
                <a:cubicBezTo>
                  <a:pt x="2355946" y="231136"/>
                  <a:pt x="2007773" y="207875"/>
                  <a:pt x="1863599" y="255933"/>
                </a:cubicBezTo>
                <a:cubicBezTo>
                  <a:pt x="1719425" y="303991"/>
                  <a:pt x="1722100" y="662359"/>
                  <a:pt x="1583138" y="594014"/>
                </a:cubicBezTo>
                <a:cubicBezTo>
                  <a:pt x="1303899" y="533462"/>
                  <a:pt x="1270112" y="558943"/>
                  <a:pt x="936304" y="827808"/>
                </a:cubicBezTo>
                <a:cubicBezTo>
                  <a:pt x="746670" y="996660"/>
                  <a:pt x="905130" y="1183698"/>
                  <a:pt x="421953" y="1240848"/>
                </a:cubicBezTo>
                <a:cubicBezTo>
                  <a:pt x="303756" y="1360344"/>
                  <a:pt x="108928" y="1351250"/>
                  <a:pt x="40088" y="1482435"/>
                </a:cubicBezTo>
                <a:cubicBezTo>
                  <a:pt x="-28752" y="1613620"/>
                  <a:pt x="12812" y="1872094"/>
                  <a:pt x="8915" y="2027958"/>
                </a:cubicBezTo>
                <a:cubicBezTo>
                  <a:pt x="5019" y="2183822"/>
                  <a:pt x="76456" y="2237075"/>
                  <a:pt x="110227" y="2394237"/>
                </a:cubicBezTo>
                <a:cubicBezTo>
                  <a:pt x="143998" y="2551400"/>
                  <a:pt x="63171" y="2896878"/>
                  <a:pt x="211538" y="2970933"/>
                </a:cubicBezTo>
                <a:cubicBezTo>
                  <a:pt x="359905" y="3044988"/>
                  <a:pt x="619860" y="2928187"/>
                  <a:pt x="906909" y="2861945"/>
                </a:cubicBezTo>
                <a:cubicBezTo>
                  <a:pt x="1193958" y="2795703"/>
                  <a:pt x="1562654" y="2582592"/>
                  <a:pt x="1933832" y="2573481"/>
                </a:cubicBezTo>
                <a:cubicBezTo>
                  <a:pt x="2066316" y="2726747"/>
                  <a:pt x="2276731" y="2802082"/>
                  <a:pt x="2331283" y="3033279"/>
                </a:cubicBezTo>
                <a:cubicBezTo>
                  <a:pt x="2468963" y="2950151"/>
                  <a:pt x="2505330" y="2656608"/>
                  <a:pt x="2533905" y="2760516"/>
                </a:cubicBezTo>
                <a:cubicBezTo>
                  <a:pt x="2588457" y="2811172"/>
                  <a:pt x="2598451" y="3213911"/>
                  <a:pt x="2775494" y="3329420"/>
                </a:cubicBezTo>
                <a:cubicBezTo>
                  <a:pt x="2907978" y="3448916"/>
                  <a:pt x="3207617" y="3581490"/>
                  <a:pt x="3336602" y="3415145"/>
                </a:cubicBezTo>
                <a:cubicBezTo>
                  <a:pt x="3481175" y="3583908"/>
                  <a:pt x="3474073" y="3458768"/>
                  <a:pt x="3588373" y="3414606"/>
                </a:cubicBezTo>
                <a:cubicBezTo>
                  <a:pt x="4004009" y="3396422"/>
                  <a:pt x="3857845" y="3090339"/>
                  <a:pt x="3967850" y="2885209"/>
                </a:cubicBezTo>
                <a:cubicBezTo>
                  <a:pt x="4077855" y="2680079"/>
                  <a:pt x="4205113" y="2672485"/>
                  <a:pt x="4256198" y="2222789"/>
                </a:cubicBezTo>
                <a:cubicBezTo>
                  <a:pt x="4062227" y="772679"/>
                  <a:pt x="5847724" y="740930"/>
                  <a:pt x="6643487" y="0"/>
                </a:cubicBezTo>
              </a:path>
            </a:pathLst>
          </a:custGeom>
          <a:noFill/>
          <a:ln w="76200">
            <a:solidFill>
              <a:srgbClr val="C00000"/>
            </a:solidFill>
            <a:headEnd type="none" w="med" len="med"/>
            <a:tailEnd type="triangl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AU" sz="1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91D4A4-6390-4373-2D0C-421A8B02685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97370" y="112200"/>
            <a:ext cx="7946519" cy="873605"/>
          </a:xfrm>
          <a:solidFill>
            <a:srgbClr val="C00000"/>
          </a:solidFill>
        </p:spPr>
        <p:txBody>
          <a:bodyPr>
            <a:noAutofit/>
          </a:bodyPr>
          <a:lstStyle/>
          <a:p>
            <a:pPr algn="l"/>
            <a:r>
              <a:rPr lang="en-AU" sz="3000" dirty="0">
                <a:solidFill>
                  <a:schemeClr val="lt1"/>
                </a:solidFill>
                <a:ea typeface="Roboto"/>
                <a:sym typeface="Roboto"/>
              </a:rPr>
              <a:t>Australia’s pharmacist vaccination journey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3F72849-7DF0-CD5C-8800-B9DBF22A7EE6}"/>
              </a:ext>
            </a:extLst>
          </p:cNvPr>
          <p:cNvGrpSpPr/>
          <p:nvPr/>
        </p:nvGrpSpPr>
        <p:grpSpPr>
          <a:xfrm>
            <a:off x="4460691" y="2024937"/>
            <a:ext cx="1918139" cy="734250"/>
            <a:chOff x="5947585" y="2699916"/>
            <a:chExt cx="2557519" cy="979000"/>
          </a:xfrm>
        </p:grpSpPr>
        <p:sp>
          <p:nvSpPr>
            <p:cNvPr id="4" name="Title 1">
              <a:extLst>
                <a:ext uri="{FF2B5EF4-FFF2-40B4-BE49-F238E27FC236}">
                  <a16:creationId xmlns:a16="http://schemas.microsoft.com/office/drawing/2014/main" id="{5244EACE-CF29-5172-57FA-ED554F8C895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947585" y="2703741"/>
              <a:ext cx="2212003" cy="975175"/>
            </a:xfrm>
            <a:prstGeom prst="rect">
              <a:avLst/>
            </a:prstGeom>
            <a:solidFill>
              <a:srgbClr val="002060">
                <a:alpha val="40000"/>
              </a:srgbClr>
            </a:solidFill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="" xmlns:ma14="http://schemas.microsoft.com/office/mac/drawingml/2011/main" val="1"/>
              </a:ext>
            </a:extLst>
          </p:spPr>
          <p:txBody>
            <a:bodyPr vert="horz" wrap="square" lIns="91440" tIns="45720" rIns="450000" bIns="45720" numCol="1" anchor="ctr" anchorCtr="0" compatLnSpc="1">
              <a:prstTxWarp prst="textNoShape">
                <a:avLst/>
              </a:prstTxWarp>
              <a:normAutofit/>
            </a:bodyPr>
            <a:lstStyle>
              <a:lvl1pPr algn="ctr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2800" b="1" i="0" kern="1200">
                  <a:solidFill>
                    <a:schemeClr val="bg1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defRPr>
              </a:lvl1pPr>
              <a:lvl2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2pPr>
              <a:lvl3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3pPr>
              <a:lvl4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4pPr>
              <a:lvl5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5pPr>
              <a:lvl6pPr marL="4572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6pPr>
              <a:lvl7pPr marL="9144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7pPr>
              <a:lvl8pPr marL="13716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8pPr>
              <a:lvl9pPr marL="18288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algn="l" defTabSz="342892">
                <a:defRPr/>
              </a:pPr>
              <a:r>
                <a:rPr lang="en-AU" sz="1600" b="0" dirty="0">
                  <a:solidFill>
                    <a:prstClr val="white"/>
                  </a:solidFill>
                </a:rPr>
                <a:t>QPIP starts</a:t>
              </a:r>
              <a:br>
                <a:rPr lang="en-AU" sz="1600" b="0" dirty="0">
                  <a:solidFill>
                    <a:prstClr val="white"/>
                  </a:solidFill>
                </a:rPr>
              </a:br>
              <a:r>
                <a:rPr lang="en-AU" sz="1600" b="0" dirty="0">
                  <a:solidFill>
                    <a:prstClr val="white"/>
                  </a:solidFill>
                </a:rPr>
                <a:t>Influenza</a:t>
              </a: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EE1E2A2-87B2-BA02-1EEA-0BA9E6923D42}"/>
                </a:ext>
              </a:extLst>
            </p:cNvPr>
            <p:cNvSpPr/>
            <p:nvPr/>
          </p:nvSpPr>
          <p:spPr>
            <a:xfrm>
              <a:off x="7529929" y="2699916"/>
              <a:ext cx="975175" cy="975175"/>
            </a:xfrm>
            <a:prstGeom prst="ellipse">
              <a:avLst/>
            </a:prstGeom>
            <a:solidFill>
              <a:srgbClr val="C00000"/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AU" sz="140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A526D8F-F0EE-F546-2B52-9CAB9ED8966B}"/>
              </a:ext>
            </a:extLst>
          </p:cNvPr>
          <p:cNvGrpSpPr/>
          <p:nvPr/>
        </p:nvGrpSpPr>
        <p:grpSpPr>
          <a:xfrm>
            <a:off x="1078501" y="1197872"/>
            <a:ext cx="2660144" cy="731383"/>
            <a:chOff x="1438001" y="1597160"/>
            <a:chExt cx="3546858" cy="975177"/>
          </a:xfrm>
        </p:grpSpPr>
        <p:sp>
          <p:nvSpPr>
            <p:cNvPr id="18" name="Title 1">
              <a:extLst>
                <a:ext uri="{FF2B5EF4-FFF2-40B4-BE49-F238E27FC236}">
                  <a16:creationId xmlns:a16="http://schemas.microsoft.com/office/drawing/2014/main" id="{C75EE5A7-20AA-AAC1-1BE5-8EDB330C3CC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438001" y="1597160"/>
              <a:ext cx="3068827" cy="975175"/>
            </a:xfrm>
            <a:prstGeom prst="rect">
              <a:avLst/>
            </a:prstGeom>
            <a:solidFill>
              <a:srgbClr val="002060">
                <a:alpha val="40000"/>
              </a:srgbClr>
            </a:solidFill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="" xmlns:ma14="http://schemas.microsoft.com/office/mac/drawingml/2011/main" val="1"/>
              </a:ext>
            </a:extLst>
          </p:spPr>
          <p:txBody>
            <a:bodyPr vert="horz" wrap="square" lIns="91440" tIns="45720" rIns="172800" bIns="45720" numCol="1" anchor="ctr" anchorCtr="0" compatLnSpc="1">
              <a:prstTxWarp prst="textNoShape">
                <a:avLst/>
              </a:prstTxWarp>
              <a:normAutofit fontScale="92500" lnSpcReduction="10000"/>
            </a:bodyPr>
            <a:lstStyle>
              <a:lvl1pPr algn="ctr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2800" b="1" i="0" kern="1200">
                  <a:solidFill>
                    <a:schemeClr val="bg1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defRPr>
              </a:lvl1pPr>
              <a:lvl2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2pPr>
              <a:lvl3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3pPr>
              <a:lvl4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4pPr>
              <a:lvl5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5pPr>
              <a:lvl6pPr marL="4572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6pPr>
              <a:lvl7pPr marL="9144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7pPr>
              <a:lvl8pPr marL="13716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8pPr>
              <a:lvl9pPr marL="18288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algn="l" defTabSz="342892">
                <a:defRPr/>
              </a:pPr>
              <a:r>
                <a:rPr lang="en-AU" sz="1600" b="0" dirty="0">
                  <a:solidFill>
                    <a:prstClr val="white"/>
                  </a:solidFill>
                </a:rPr>
                <a:t>Most states start pharmacist influenza vaccination</a:t>
              </a: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6F95774F-31D8-621D-1973-12B1FCCE6D89}"/>
                </a:ext>
              </a:extLst>
            </p:cNvPr>
            <p:cNvSpPr/>
            <p:nvPr/>
          </p:nvSpPr>
          <p:spPr>
            <a:xfrm>
              <a:off x="4009684" y="1597162"/>
              <a:ext cx="975175" cy="975175"/>
            </a:xfrm>
            <a:prstGeom prst="ellipse">
              <a:avLst/>
            </a:prstGeom>
            <a:solidFill>
              <a:srgbClr val="C00000"/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AU" sz="140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B08C3DE-88EF-2650-9A1E-232965566854}"/>
              </a:ext>
            </a:extLst>
          </p:cNvPr>
          <p:cNvGrpSpPr/>
          <p:nvPr/>
        </p:nvGrpSpPr>
        <p:grpSpPr>
          <a:xfrm>
            <a:off x="178963" y="2104720"/>
            <a:ext cx="2440085" cy="740432"/>
            <a:chOff x="238614" y="2806292"/>
            <a:chExt cx="3253447" cy="987243"/>
          </a:xfrm>
        </p:grpSpPr>
        <p:sp>
          <p:nvSpPr>
            <p:cNvPr id="20" name="Title 1">
              <a:extLst>
                <a:ext uri="{FF2B5EF4-FFF2-40B4-BE49-F238E27FC236}">
                  <a16:creationId xmlns:a16="http://schemas.microsoft.com/office/drawing/2014/main" id="{9927AB05-C8DA-CC00-8717-494DB203B7E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38614" y="2806292"/>
              <a:ext cx="2816313" cy="975175"/>
            </a:xfrm>
            <a:prstGeom prst="rect">
              <a:avLst/>
            </a:prstGeom>
            <a:solidFill>
              <a:srgbClr val="002060">
                <a:alpha val="40000"/>
              </a:srgbClr>
            </a:solidFill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="" xmlns:ma14="http://schemas.microsoft.com/office/mac/drawingml/2011/main" val="1"/>
              </a:ext>
            </a:extLst>
          </p:spPr>
          <p:txBody>
            <a:bodyPr vert="horz" wrap="square" lIns="91440" tIns="45720" rIns="90000" bIns="45720" numCol="1" anchor="ctr" anchorCtr="0" compatLnSpc="1">
              <a:prstTxWarp prst="textNoShape">
                <a:avLst/>
              </a:prstTxWarp>
              <a:normAutofit fontScale="92500" lnSpcReduction="10000"/>
            </a:bodyPr>
            <a:lstStyle>
              <a:lvl1pPr algn="ctr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2800" b="1" i="0" kern="1200">
                  <a:solidFill>
                    <a:schemeClr val="bg1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defRPr>
              </a:lvl1pPr>
              <a:lvl2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2pPr>
              <a:lvl3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3pPr>
              <a:lvl4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4pPr>
              <a:lvl5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5pPr>
              <a:lvl6pPr marL="4572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6pPr>
              <a:lvl7pPr marL="9144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7pPr>
              <a:lvl8pPr marL="13716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8pPr>
              <a:lvl9pPr marL="18288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algn="l" defTabSz="342892">
                <a:defRPr/>
              </a:pPr>
              <a:r>
                <a:rPr lang="en-AU" sz="1600" b="0" dirty="0">
                  <a:solidFill>
                    <a:prstClr val="white"/>
                  </a:solidFill>
                </a:rPr>
                <a:t>Jurisdictions add </a:t>
              </a:r>
              <a:br>
                <a:rPr lang="en-AU" sz="1600" b="0" dirty="0">
                  <a:solidFill>
                    <a:prstClr val="white"/>
                  </a:solidFill>
                </a:rPr>
              </a:br>
              <a:r>
                <a:rPr lang="en-AU" sz="1600" b="0" dirty="0">
                  <a:solidFill>
                    <a:prstClr val="white"/>
                  </a:solidFill>
                </a:rPr>
                <a:t>more vaccines, </a:t>
              </a:r>
              <a:br>
                <a:rPr lang="en-AU" sz="1600" b="0" dirty="0">
                  <a:solidFill>
                    <a:prstClr val="white"/>
                  </a:solidFill>
                </a:rPr>
              </a:br>
              <a:r>
                <a:rPr lang="en-AU" sz="1600" b="0" dirty="0">
                  <a:solidFill>
                    <a:prstClr val="white"/>
                  </a:solidFill>
                </a:rPr>
                <a:t>inc. </a:t>
              </a:r>
              <a:r>
                <a:rPr lang="en-AU" sz="1600" b="0" dirty="0" err="1">
                  <a:solidFill>
                    <a:prstClr val="white"/>
                  </a:solidFill>
                </a:rPr>
                <a:t>dTPa</a:t>
              </a:r>
              <a:r>
                <a:rPr lang="en-AU" sz="1600" b="0" dirty="0">
                  <a:solidFill>
                    <a:prstClr val="white"/>
                  </a:solidFill>
                </a:rPr>
                <a:t> &amp; MMR</a:t>
              </a:r>
              <a:endParaRPr lang="en-AU" sz="1600" b="0" i="1" dirty="0">
                <a:solidFill>
                  <a:prstClr val="white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3B25158A-9D43-71DC-BE85-5F3CA1C34B19}"/>
                </a:ext>
              </a:extLst>
            </p:cNvPr>
            <p:cNvSpPr/>
            <p:nvPr/>
          </p:nvSpPr>
          <p:spPr>
            <a:xfrm>
              <a:off x="2516886" y="2818360"/>
              <a:ext cx="975175" cy="975175"/>
            </a:xfrm>
            <a:prstGeom prst="ellipse">
              <a:avLst/>
            </a:prstGeom>
            <a:solidFill>
              <a:srgbClr val="C00000"/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AU" sz="15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16-2019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9495E3C-DC0E-FCE9-BD73-1827F82DB249}"/>
              </a:ext>
            </a:extLst>
          </p:cNvPr>
          <p:cNvGrpSpPr/>
          <p:nvPr/>
        </p:nvGrpSpPr>
        <p:grpSpPr>
          <a:xfrm>
            <a:off x="94259" y="3020617"/>
            <a:ext cx="2456916" cy="734455"/>
            <a:chOff x="125679" y="4027486"/>
            <a:chExt cx="3275888" cy="979273"/>
          </a:xfrm>
        </p:grpSpPr>
        <p:sp>
          <p:nvSpPr>
            <p:cNvPr id="22" name="Title 1">
              <a:extLst>
                <a:ext uri="{FF2B5EF4-FFF2-40B4-BE49-F238E27FC236}">
                  <a16:creationId xmlns:a16="http://schemas.microsoft.com/office/drawing/2014/main" id="{B8967AE4-74BF-2F7B-ED71-99F5D0AEFAD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25679" y="4031584"/>
              <a:ext cx="2648565" cy="975175"/>
            </a:xfrm>
            <a:prstGeom prst="rect">
              <a:avLst/>
            </a:prstGeom>
            <a:solidFill>
              <a:srgbClr val="002060">
                <a:alpha val="40000"/>
              </a:srgbClr>
            </a:solidFill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="" xmlns:ma14="http://schemas.microsoft.com/office/mac/drawingml/2011/main" val="1"/>
              </a:ext>
            </a:extLst>
          </p:spPr>
          <p:txBody>
            <a:bodyPr vert="horz" wrap="square" lIns="91440" tIns="45720" rIns="90000" bIns="45720" numCol="1" anchor="ctr" anchorCtr="0" compatLnSpc="1">
              <a:prstTxWarp prst="textNoShape">
                <a:avLst/>
              </a:prstTxWarp>
              <a:normAutofit lnSpcReduction="10000"/>
            </a:bodyPr>
            <a:lstStyle>
              <a:lvl1pPr algn="ctr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2800" b="1" i="0" kern="1200">
                  <a:solidFill>
                    <a:schemeClr val="bg1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defRPr>
              </a:lvl1pPr>
              <a:lvl2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2pPr>
              <a:lvl3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3pPr>
              <a:lvl4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4pPr>
              <a:lvl5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5pPr>
              <a:lvl6pPr marL="4572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6pPr>
              <a:lvl7pPr marL="9144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7pPr>
              <a:lvl8pPr marL="13716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8pPr>
              <a:lvl9pPr marL="18288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algn="l" defTabSz="342892">
                <a:defRPr/>
              </a:pPr>
              <a:r>
                <a:rPr lang="en-AU" sz="1400" b="0" dirty="0">
                  <a:solidFill>
                    <a:prstClr val="white"/>
                  </a:solidFill>
                </a:rPr>
                <a:t>Pharmacists support COVID-19 </a:t>
              </a:r>
              <a:br>
                <a:rPr lang="en-AU" sz="1400" b="0" dirty="0">
                  <a:solidFill>
                    <a:prstClr val="white"/>
                  </a:solidFill>
                </a:rPr>
              </a:br>
              <a:r>
                <a:rPr lang="en-AU" sz="1400" b="0" dirty="0">
                  <a:solidFill>
                    <a:prstClr val="white"/>
                  </a:solidFill>
                </a:rPr>
                <a:t>vaccination roll-out</a:t>
              </a:r>
              <a:endParaRPr lang="en-AU" sz="1400" b="0" i="1" dirty="0">
                <a:solidFill>
                  <a:prstClr val="white"/>
                </a:solidFill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F9D16B3D-F6A8-EAD5-D790-5281D399CDA6}"/>
                </a:ext>
              </a:extLst>
            </p:cNvPr>
            <p:cNvSpPr/>
            <p:nvPr/>
          </p:nvSpPr>
          <p:spPr>
            <a:xfrm>
              <a:off x="2426392" y="4027486"/>
              <a:ext cx="975175" cy="975175"/>
            </a:xfrm>
            <a:prstGeom prst="ellipse">
              <a:avLst/>
            </a:prstGeom>
            <a:solidFill>
              <a:srgbClr val="C00000"/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AU" sz="140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1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753812-1C9C-1714-D8C8-B0CA0BFA66DE}"/>
              </a:ext>
            </a:extLst>
          </p:cNvPr>
          <p:cNvGrpSpPr/>
          <p:nvPr/>
        </p:nvGrpSpPr>
        <p:grpSpPr>
          <a:xfrm>
            <a:off x="5323875" y="1079183"/>
            <a:ext cx="1728568" cy="747873"/>
            <a:chOff x="7098497" y="1438910"/>
            <a:chExt cx="2304756" cy="997164"/>
          </a:xfrm>
        </p:grpSpPr>
        <p:sp>
          <p:nvSpPr>
            <p:cNvPr id="16" name="Title 1">
              <a:extLst>
                <a:ext uri="{FF2B5EF4-FFF2-40B4-BE49-F238E27FC236}">
                  <a16:creationId xmlns:a16="http://schemas.microsoft.com/office/drawing/2014/main" id="{9B6BCD0A-0B8D-69D7-51C1-F7608A8458C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593076" y="1460899"/>
              <a:ext cx="1810177" cy="975175"/>
            </a:xfrm>
            <a:prstGeom prst="rect">
              <a:avLst/>
            </a:prstGeom>
            <a:solidFill>
              <a:srgbClr val="002060">
                <a:alpha val="40000"/>
              </a:srgbClr>
            </a:solidFill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="" xmlns:ma14="http://schemas.microsoft.com/office/mac/drawingml/2011/main" val="1"/>
              </a:ext>
            </a:extLst>
          </p:spPr>
          <p:txBody>
            <a:bodyPr vert="horz" wrap="square" lIns="91440" tIns="45720" rIns="91800" bIns="45720" numCol="1" anchor="ctr" anchorCtr="0" compatLnSpc="1">
              <a:prstTxWarp prst="textNoShape">
                <a:avLst/>
              </a:prstTxWarp>
              <a:normAutofit/>
            </a:bodyPr>
            <a:lstStyle>
              <a:lvl1pPr algn="ctr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2800" b="1" i="0" kern="1200">
                  <a:solidFill>
                    <a:schemeClr val="bg1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defRPr>
              </a:lvl1pPr>
              <a:lvl2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2pPr>
              <a:lvl3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3pPr>
              <a:lvl4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4pPr>
              <a:lvl5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5pPr>
              <a:lvl6pPr marL="4572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6pPr>
              <a:lvl7pPr marL="9144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7pPr>
              <a:lvl8pPr marL="13716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8pPr>
              <a:lvl9pPr marL="18288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algn="r" defTabSz="342892">
                <a:defRPr/>
              </a:pPr>
              <a:r>
                <a:rPr lang="en-AU" sz="1500" b="0" dirty="0">
                  <a:solidFill>
                    <a:prstClr val="white"/>
                  </a:solidFill>
                </a:rPr>
                <a:t>QLD </a:t>
              </a:r>
              <a:r>
                <a:rPr lang="en-AU" sz="1500" b="0" dirty="0" err="1">
                  <a:solidFill>
                    <a:prstClr val="white"/>
                  </a:solidFill>
                </a:rPr>
                <a:t>dTPa</a:t>
              </a:r>
              <a:r>
                <a:rPr lang="en-AU" sz="1500" b="0" dirty="0">
                  <a:solidFill>
                    <a:prstClr val="white"/>
                  </a:solidFill>
                </a:rPr>
                <a:t> and MMR </a:t>
              </a:r>
              <a:endParaRPr lang="en-AU" sz="1500" b="0" i="1" dirty="0">
                <a:solidFill>
                  <a:prstClr val="white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92EAA87C-603B-4F7B-F72A-127743BE4A12}"/>
                </a:ext>
              </a:extLst>
            </p:cNvPr>
            <p:cNvSpPr/>
            <p:nvPr/>
          </p:nvSpPr>
          <p:spPr>
            <a:xfrm>
              <a:off x="7098497" y="1438910"/>
              <a:ext cx="975175" cy="975175"/>
            </a:xfrm>
            <a:prstGeom prst="ellipse">
              <a:avLst/>
            </a:prstGeom>
            <a:solidFill>
              <a:srgbClr val="C00000"/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AU" sz="140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E09F7E4-FD27-55D4-1336-6233AFAC0F0E}"/>
              </a:ext>
            </a:extLst>
          </p:cNvPr>
          <p:cNvGrpSpPr/>
          <p:nvPr/>
        </p:nvGrpSpPr>
        <p:grpSpPr>
          <a:xfrm>
            <a:off x="5202318" y="3039116"/>
            <a:ext cx="1484572" cy="738075"/>
            <a:chOff x="6936421" y="4052155"/>
            <a:chExt cx="1979429" cy="984100"/>
          </a:xfrm>
        </p:grpSpPr>
        <p:sp>
          <p:nvSpPr>
            <p:cNvPr id="24" name="Title 1">
              <a:extLst>
                <a:ext uri="{FF2B5EF4-FFF2-40B4-BE49-F238E27FC236}">
                  <a16:creationId xmlns:a16="http://schemas.microsoft.com/office/drawing/2014/main" id="{AD07EA29-DCCF-172A-5689-33A313AC7FF0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936421" y="4061080"/>
              <a:ext cx="1506707" cy="975175"/>
            </a:xfrm>
            <a:prstGeom prst="rect">
              <a:avLst/>
            </a:prstGeom>
            <a:solidFill>
              <a:srgbClr val="002060">
                <a:alpha val="40000"/>
              </a:srgbClr>
            </a:solidFill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="" xmlns:ma14="http://schemas.microsoft.com/office/mac/drawingml/2011/main" val="1"/>
              </a:ext>
            </a:extLst>
          </p:spPr>
          <p:txBody>
            <a:bodyPr vert="horz" wrap="square" lIns="91440" tIns="45720" rIns="90000" bIns="45720" numCol="1" anchor="ctr" anchorCtr="0" compatLnSpc="1">
              <a:prstTxWarp prst="textNoShape">
                <a:avLst/>
              </a:prstTxWarp>
              <a:normAutofit/>
            </a:bodyPr>
            <a:lstStyle>
              <a:lvl1pPr algn="ctr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2800" b="1" i="0" kern="1200">
                  <a:solidFill>
                    <a:schemeClr val="bg1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defRPr>
              </a:lvl1pPr>
              <a:lvl2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2pPr>
              <a:lvl3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3pPr>
              <a:lvl4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4pPr>
              <a:lvl5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5pPr>
              <a:lvl6pPr marL="4572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6pPr>
              <a:lvl7pPr marL="9144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7pPr>
              <a:lvl8pPr marL="13716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8pPr>
              <a:lvl9pPr marL="18288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algn="l" defTabSz="342892">
                <a:defRPr/>
              </a:pPr>
              <a:r>
                <a:rPr lang="en-AU" sz="1400" b="0" dirty="0">
                  <a:solidFill>
                    <a:prstClr val="white"/>
                  </a:solidFill>
                </a:rPr>
                <a:t>NIPVIP </a:t>
              </a:r>
              <a:br>
                <a:rPr lang="en-AU" sz="1400" b="0" dirty="0">
                  <a:solidFill>
                    <a:prstClr val="white"/>
                  </a:solidFill>
                </a:rPr>
              </a:br>
              <a:r>
                <a:rPr lang="en-AU" sz="1400" b="0" dirty="0">
                  <a:solidFill>
                    <a:prstClr val="white"/>
                  </a:solidFill>
                </a:rPr>
                <a:t>starts</a:t>
              </a:r>
              <a:endParaRPr lang="en-AU" sz="1400" b="0" i="1" dirty="0">
                <a:solidFill>
                  <a:prstClr val="white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BD120541-FFAE-378B-0D87-842A01A61BB5}"/>
                </a:ext>
              </a:extLst>
            </p:cNvPr>
            <p:cNvSpPr/>
            <p:nvPr/>
          </p:nvSpPr>
          <p:spPr>
            <a:xfrm>
              <a:off x="7940675" y="4052155"/>
              <a:ext cx="975175" cy="975175"/>
            </a:xfrm>
            <a:prstGeom prst="ellipse">
              <a:avLst/>
            </a:prstGeom>
            <a:solidFill>
              <a:srgbClr val="C00000"/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AU" sz="140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4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A2F2761-D945-75F1-0084-200ADF93082B}"/>
              </a:ext>
            </a:extLst>
          </p:cNvPr>
          <p:cNvGrpSpPr/>
          <p:nvPr/>
        </p:nvGrpSpPr>
        <p:grpSpPr>
          <a:xfrm>
            <a:off x="94260" y="3214249"/>
            <a:ext cx="3880608" cy="1647278"/>
            <a:chOff x="125680" y="4285663"/>
            <a:chExt cx="5174144" cy="2196371"/>
          </a:xfrm>
        </p:grpSpPr>
        <p:sp>
          <p:nvSpPr>
            <p:cNvPr id="10" name="Title 1">
              <a:extLst>
                <a:ext uri="{FF2B5EF4-FFF2-40B4-BE49-F238E27FC236}">
                  <a16:creationId xmlns:a16="http://schemas.microsoft.com/office/drawing/2014/main" id="{779EACBD-590D-DC77-1BF6-9C9082CB3AE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25680" y="5506859"/>
              <a:ext cx="5174144" cy="975175"/>
            </a:xfrm>
            <a:prstGeom prst="rect">
              <a:avLst/>
            </a:prstGeom>
            <a:solidFill>
              <a:srgbClr val="002060">
                <a:alpha val="40000"/>
              </a:srgbClr>
            </a:solidFill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="" xmlns:ma14="http://schemas.microsoft.com/office/mac/drawingml/2011/main" val="1"/>
              </a:ext>
            </a:extLst>
          </p:spPr>
          <p:txBody>
            <a:bodyPr vert="horz" wrap="square" lIns="91440" tIns="45720" rIns="90000" bIns="45720" numCol="1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lvl1pPr algn="ctr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2800" b="1" i="0" kern="1200">
                  <a:solidFill>
                    <a:schemeClr val="bg1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defRPr>
              </a:lvl1pPr>
              <a:lvl2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2pPr>
              <a:lvl3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3pPr>
              <a:lvl4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4pPr>
              <a:lvl5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5pPr>
              <a:lvl6pPr marL="4572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6pPr>
              <a:lvl7pPr marL="9144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7pPr>
              <a:lvl8pPr marL="13716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8pPr>
              <a:lvl9pPr marL="18288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algn="l" defTabSz="342892">
                <a:defRPr/>
              </a:pPr>
              <a:r>
                <a:rPr lang="en-AU" sz="1400" b="0" dirty="0">
                  <a:solidFill>
                    <a:prstClr val="white"/>
                  </a:solidFill>
                </a:rPr>
                <a:t>Jurisdictions progressively add additional vaccines (e.g. HPV, JEV), reduce minimum age restrictions and increase NIP access via community pharmacy</a:t>
              </a:r>
              <a:endParaRPr lang="en-AU" sz="1400" b="0" i="1" dirty="0">
                <a:solidFill>
                  <a:prstClr val="white"/>
                </a:solidFill>
              </a:endParaRPr>
            </a:p>
          </p:txBody>
        </p:sp>
        <p:sp>
          <p:nvSpPr>
            <p:cNvPr id="11" name="Title 1">
              <a:extLst>
                <a:ext uri="{FF2B5EF4-FFF2-40B4-BE49-F238E27FC236}">
                  <a16:creationId xmlns:a16="http://schemas.microsoft.com/office/drawing/2014/main" id="{6FB5B00D-77C0-0A80-B004-884EC6935B7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324648" y="4704735"/>
              <a:ext cx="975175" cy="802122"/>
            </a:xfrm>
            <a:prstGeom prst="rect">
              <a:avLst/>
            </a:prstGeom>
            <a:solidFill>
              <a:srgbClr val="002060">
                <a:alpha val="40000"/>
              </a:srgbClr>
            </a:solidFill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="" xmlns:ma14="http://schemas.microsoft.com/office/mac/drawingml/2011/main" val="1"/>
              </a:ext>
            </a:extLst>
          </p:spPr>
          <p:txBody>
            <a:bodyPr vert="horz" wrap="square" lIns="91440" tIns="45720" rIns="90000" bIns="45720" numCol="1" anchor="ctr" anchorCtr="0" compatLnSpc="1">
              <a:prstTxWarp prst="textNoShape">
                <a:avLst/>
              </a:prstTxWarp>
              <a:normAutofit/>
            </a:bodyPr>
            <a:lstStyle>
              <a:lvl1pPr algn="ctr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2800" b="1" i="0" kern="1200">
                  <a:solidFill>
                    <a:schemeClr val="bg1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defRPr>
              </a:lvl1pPr>
              <a:lvl2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2pPr>
              <a:lvl3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3pPr>
              <a:lvl4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4pPr>
              <a:lvl5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5pPr>
              <a:lvl6pPr marL="4572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6pPr>
              <a:lvl7pPr marL="9144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7pPr>
              <a:lvl8pPr marL="13716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8pPr>
              <a:lvl9pPr marL="18288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algn="l" defTabSz="342892">
                <a:defRPr/>
              </a:pPr>
              <a:endParaRPr lang="en-AU" sz="1400" b="0" i="1">
                <a:solidFill>
                  <a:prstClr val="white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C8EAFE0-A76C-665F-6A53-4AEAF4A973EA}"/>
                </a:ext>
              </a:extLst>
            </p:cNvPr>
            <p:cNvSpPr/>
            <p:nvPr/>
          </p:nvSpPr>
          <p:spPr>
            <a:xfrm>
              <a:off x="4324649" y="4285663"/>
              <a:ext cx="975175" cy="975175"/>
            </a:xfrm>
            <a:prstGeom prst="ellipse">
              <a:avLst/>
            </a:prstGeom>
            <a:solidFill>
              <a:srgbClr val="C00000"/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AU" sz="150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1- 2023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F235D05-1225-E2B7-6DCA-38C84FF1CBB3}"/>
              </a:ext>
            </a:extLst>
          </p:cNvPr>
          <p:cNvGrpSpPr/>
          <p:nvPr/>
        </p:nvGrpSpPr>
        <p:grpSpPr>
          <a:xfrm>
            <a:off x="5323875" y="3978629"/>
            <a:ext cx="1818265" cy="739125"/>
            <a:chOff x="7098497" y="5304838"/>
            <a:chExt cx="2424353" cy="985500"/>
          </a:xfrm>
        </p:grpSpPr>
        <p:sp>
          <p:nvSpPr>
            <p:cNvPr id="12" name="Title 1">
              <a:extLst>
                <a:ext uri="{FF2B5EF4-FFF2-40B4-BE49-F238E27FC236}">
                  <a16:creationId xmlns:a16="http://schemas.microsoft.com/office/drawing/2014/main" id="{A72334BB-45C0-B83E-4FD5-B5D3F39585D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529929" y="5304838"/>
              <a:ext cx="1992921" cy="985500"/>
            </a:xfrm>
            <a:prstGeom prst="rect">
              <a:avLst/>
            </a:prstGeom>
            <a:solidFill>
              <a:srgbClr val="002060">
                <a:alpha val="40000"/>
              </a:srgbClr>
            </a:solidFill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="" xmlns:ma14="http://schemas.microsoft.com/office/mac/drawingml/2011/main" val="1"/>
              </a:ext>
            </a:extLst>
          </p:spPr>
          <p:txBody>
            <a:bodyPr vert="horz" wrap="square" lIns="91440" tIns="45720" rIns="90000" bIns="45720" numCol="1" anchor="ctr" anchorCtr="0" compatLnSpc="1">
              <a:prstTxWarp prst="textNoShape">
                <a:avLst/>
              </a:prstTxWarp>
              <a:normAutofit/>
            </a:bodyPr>
            <a:lstStyle>
              <a:lvl1pPr algn="ctr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2800" b="1" i="0" kern="1200">
                  <a:solidFill>
                    <a:schemeClr val="bg1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defRPr>
              </a:lvl1pPr>
              <a:lvl2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2pPr>
              <a:lvl3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3pPr>
              <a:lvl4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4pPr>
              <a:lvl5pPr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5pPr>
              <a:lvl6pPr marL="4572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6pPr>
              <a:lvl7pPr marL="9144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7pPr>
              <a:lvl8pPr marL="13716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8pPr>
              <a:lvl9pPr marL="1828800" algn="l" defTabSz="457200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bg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algn="r" defTabSz="342892">
                <a:defRPr/>
              </a:pPr>
              <a:r>
                <a:rPr lang="en-AU" sz="1400" b="0" dirty="0">
                  <a:solidFill>
                    <a:prstClr val="white"/>
                  </a:solidFill>
                </a:rPr>
                <a:t>Travel </a:t>
              </a:r>
              <a:br>
                <a:rPr lang="en-AU" sz="1400" b="0" dirty="0">
                  <a:solidFill>
                    <a:prstClr val="white"/>
                  </a:solidFill>
                </a:rPr>
              </a:br>
              <a:r>
                <a:rPr lang="en-AU" sz="1400" b="0" dirty="0">
                  <a:solidFill>
                    <a:prstClr val="white"/>
                  </a:solidFill>
                </a:rPr>
                <a:t>Health Pilot </a:t>
              </a:r>
              <a:br>
                <a:rPr lang="en-AU" sz="1400" b="0" dirty="0">
                  <a:solidFill>
                    <a:prstClr val="white"/>
                  </a:solidFill>
                </a:rPr>
              </a:br>
              <a:r>
                <a:rPr lang="en-AU" sz="1400" b="0" dirty="0">
                  <a:solidFill>
                    <a:prstClr val="white"/>
                  </a:solidFill>
                </a:rPr>
                <a:t>(Victoria) </a:t>
              </a:r>
              <a:endParaRPr lang="en-AU" sz="1400" b="0" i="1" dirty="0">
                <a:solidFill>
                  <a:prstClr val="white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C91D368-AC88-9236-44CB-B12287E64F1D}"/>
                </a:ext>
              </a:extLst>
            </p:cNvPr>
            <p:cNvSpPr/>
            <p:nvPr/>
          </p:nvSpPr>
          <p:spPr>
            <a:xfrm>
              <a:off x="7098497" y="5315163"/>
              <a:ext cx="975175" cy="975175"/>
            </a:xfrm>
            <a:prstGeom prst="ellipse">
              <a:avLst/>
            </a:prstGeom>
            <a:solidFill>
              <a:srgbClr val="C00000"/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AU" sz="140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4</a:t>
              </a:r>
            </a:p>
          </p:txBody>
        </p:sp>
      </p:grpSp>
      <p:sp>
        <p:nvSpPr>
          <p:cNvPr id="14" name="Oval 13">
            <a:extLst>
              <a:ext uri="{FF2B5EF4-FFF2-40B4-BE49-F238E27FC236}">
                <a16:creationId xmlns:a16="http://schemas.microsoft.com/office/drawing/2014/main" id="{5DCA7F9F-3E81-F046-0725-6E3D4768DE88}"/>
              </a:ext>
            </a:extLst>
          </p:cNvPr>
          <p:cNvSpPr/>
          <p:nvPr/>
        </p:nvSpPr>
        <p:spPr>
          <a:xfrm>
            <a:off x="5329118" y="4811132"/>
            <a:ext cx="731381" cy="731381"/>
          </a:xfrm>
          <a:prstGeom prst="ellipse">
            <a:avLst/>
          </a:prstGeom>
          <a:noFill/>
          <a:ln w="762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>
              <a:defRPr/>
            </a:pPr>
            <a:r>
              <a:rPr lang="en-AU" sz="14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B2DE4FDF-ECDB-D0E4-CB65-BEEB8AD09A83}"/>
              </a:ext>
            </a:extLst>
          </p:cNvPr>
          <p:cNvSpPr txBox="1">
            <a:spLocks/>
          </p:cNvSpPr>
          <p:nvPr/>
        </p:nvSpPr>
        <p:spPr bwMode="auto">
          <a:xfrm rot="20089908">
            <a:off x="6952636" y="872520"/>
            <a:ext cx="2301620" cy="731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172800" bIns="45720" numCol="1" anchor="ctr" anchorCtr="0" compatLnSpc="1">
            <a:prstTxWarp prst="textNoShape">
              <a:avLst/>
            </a:prstTxWarp>
            <a:normAutofit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 defTabSz="342892">
              <a:defRPr/>
            </a:pPr>
            <a:r>
              <a:rPr lang="en-AU" sz="1350" b="0">
                <a:solidFill>
                  <a:srgbClr val="C00000"/>
                </a:solidFill>
              </a:rPr>
              <a:t>ALL VACCINES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78F64103-9B1D-6506-9982-D321ABCB4CEF}"/>
              </a:ext>
            </a:extLst>
          </p:cNvPr>
          <p:cNvSpPr txBox="1">
            <a:spLocks/>
          </p:cNvSpPr>
          <p:nvPr/>
        </p:nvSpPr>
        <p:spPr bwMode="auto">
          <a:xfrm rot="19805804">
            <a:off x="6515908" y="1263127"/>
            <a:ext cx="2301620" cy="731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172800" bIns="45720" numCol="1" anchor="ctr" anchorCtr="0" compatLnSpc="1">
            <a:prstTxWarp prst="textNoShape">
              <a:avLst/>
            </a:prstTxWarp>
            <a:normAutofit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 defTabSz="342892">
              <a:defRPr/>
            </a:pPr>
            <a:r>
              <a:rPr lang="en-AU" sz="1350" b="0">
                <a:solidFill>
                  <a:srgbClr val="C00000"/>
                </a:solidFill>
              </a:rPr>
              <a:t>ALL AGES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7113A5B2-BAB3-968B-B0E8-64B825A5FA3F}"/>
              </a:ext>
            </a:extLst>
          </p:cNvPr>
          <p:cNvSpPr txBox="1">
            <a:spLocks/>
          </p:cNvSpPr>
          <p:nvPr/>
        </p:nvSpPr>
        <p:spPr bwMode="auto">
          <a:xfrm rot="20058799">
            <a:off x="7286797" y="919743"/>
            <a:ext cx="2301620" cy="731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172800" bIns="45720" numCol="1" anchor="ctr" anchorCtr="0" compatLnSpc="1">
            <a:prstTxWarp prst="textNoShape">
              <a:avLst/>
            </a:prstTxWarp>
            <a:normAutofit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 defTabSz="342892">
              <a:defRPr/>
            </a:pPr>
            <a:r>
              <a:rPr lang="en-AU" sz="1350" b="0" dirty="0">
                <a:solidFill>
                  <a:srgbClr val="C00000"/>
                </a:solidFill>
              </a:rPr>
              <a:t>ALL LOCATIONS</a:t>
            </a:r>
          </a:p>
        </p:txBody>
      </p:sp>
    </p:spTree>
    <p:extLst>
      <p:ext uri="{BB962C8B-B14F-4D97-AF65-F5344CB8AC3E}">
        <p14:creationId xmlns:p14="http://schemas.microsoft.com/office/powerpoint/2010/main" val="1103019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0" grpId="0"/>
      <p:bldP spid="31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AE4386-6879-7162-269A-81867C613D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holding a child&#10;&#10;AI-generated content may be incorrect.">
            <a:extLst>
              <a:ext uri="{FF2B5EF4-FFF2-40B4-BE49-F238E27FC236}">
                <a16:creationId xmlns:a16="http://schemas.microsoft.com/office/drawing/2014/main" id="{9ADB92C2-92B6-0424-28BD-F39B90B8A22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15626" r="1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CC0E471-12D4-6769-1266-6A06FAC4251C}"/>
              </a:ext>
            </a:extLst>
          </p:cNvPr>
          <p:cNvSpPr/>
          <p:nvPr/>
        </p:nvSpPr>
        <p:spPr>
          <a:xfrm>
            <a:off x="343363" y="4204776"/>
            <a:ext cx="2843183" cy="56854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261A1CA1-D011-8AC9-EF2A-A7F3B92E7B9B}"/>
              </a:ext>
            </a:extLst>
          </p:cNvPr>
          <p:cNvSpPr txBox="1">
            <a:spLocks/>
          </p:cNvSpPr>
          <p:nvPr/>
        </p:nvSpPr>
        <p:spPr bwMode="auto">
          <a:xfrm>
            <a:off x="367031" y="4122775"/>
            <a:ext cx="2930351" cy="693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normAutofit/>
          </a:bodyPr>
          <a:lstStyle>
            <a:lvl1pPr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5333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609585"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1219170"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828754"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2438339" algn="l" defTabSz="609585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2800" dirty="0"/>
              <a:t>Where to next?</a:t>
            </a:r>
          </a:p>
        </p:txBody>
      </p:sp>
    </p:spTree>
    <p:extLst>
      <p:ext uri="{BB962C8B-B14F-4D97-AF65-F5344CB8AC3E}">
        <p14:creationId xmlns:p14="http://schemas.microsoft.com/office/powerpoint/2010/main" val="8001922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DA53FB-747D-EA25-2CD8-C736FF7528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doctor checking a patient's blood pressure&#10;&#10;AI-generated content may be incorrect.">
            <a:extLst>
              <a:ext uri="{FF2B5EF4-FFF2-40B4-BE49-F238E27FC236}">
                <a16:creationId xmlns:a16="http://schemas.microsoft.com/office/drawing/2014/main" id="{1A6879FC-429A-1FAA-E372-4A7E518C426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4" t="20687" r="40114" b="42674"/>
          <a:stretch/>
        </p:blipFill>
        <p:spPr>
          <a:xfrm>
            <a:off x="0" y="966109"/>
            <a:ext cx="8686800" cy="3759948"/>
          </a:xfrm>
          <a:prstGeom prst="rect">
            <a:avLst/>
          </a:prstGeom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9246D35-93A2-DB9A-298A-9524092F76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1298305"/>
            <a:ext cx="4114801" cy="20415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tx1"/>
                </a:solidFill>
              </a:rPr>
              <a:t>Practice changes to drive vaccination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C30A6F4-99C7-EDC3-4200-CAD8A96BCF94}"/>
              </a:ext>
            </a:extLst>
          </p:cNvPr>
          <p:cNvSpPr txBox="1">
            <a:spLocks/>
          </p:cNvSpPr>
          <p:nvPr/>
        </p:nvSpPr>
        <p:spPr bwMode="auto">
          <a:xfrm>
            <a:off x="457200" y="3242904"/>
            <a:ext cx="3034145" cy="909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endParaRPr lang="en-US" sz="18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358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56DEB8-F7F1-87A5-4EFC-B68387CC89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BED2F5B-111E-C476-8968-A75217E66A4A}"/>
              </a:ext>
            </a:extLst>
          </p:cNvPr>
          <p:cNvSpPr/>
          <p:nvPr/>
        </p:nvSpPr>
        <p:spPr>
          <a:xfrm>
            <a:off x="3742021" y="362736"/>
            <a:ext cx="1139579" cy="568543"/>
          </a:xfrm>
          <a:prstGeom prst="rect">
            <a:avLst/>
          </a:prstGeom>
          <a:solidFill>
            <a:srgbClr val="C00000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F2FD2E-E65F-2007-42CE-29A1A85AA563}"/>
              </a:ext>
            </a:extLst>
          </p:cNvPr>
          <p:cNvSpPr/>
          <p:nvPr/>
        </p:nvSpPr>
        <p:spPr>
          <a:xfrm>
            <a:off x="343362" y="362737"/>
            <a:ext cx="3415038" cy="56854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11609C2-8AC1-6496-418B-40A6015267B9}"/>
              </a:ext>
            </a:extLst>
          </p:cNvPr>
          <p:cNvSpPr txBox="1">
            <a:spLocks/>
          </p:cNvSpPr>
          <p:nvPr/>
        </p:nvSpPr>
        <p:spPr bwMode="auto">
          <a:xfrm>
            <a:off x="323741" y="281974"/>
            <a:ext cx="6820009" cy="731381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en-AU" dirty="0"/>
              <a:t>Addressing barrier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0EC6E6C-24FB-D2C3-B157-6EF3CA0545AC}"/>
              </a:ext>
            </a:extLst>
          </p:cNvPr>
          <p:cNvSpPr txBox="1">
            <a:spLocks/>
          </p:cNvSpPr>
          <p:nvPr/>
        </p:nvSpPr>
        <p:spPr>
          <a:xfrm>
            <a:off x="4881600" y="1137157"/>
            <a:ext cx="4203660" cy="4351338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+mj-lt" charset="0"/>
              <a:defRPr sz="3200" kern="1200">
                <a:solidFill>
                  <a:schemeClr val="bg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ultural and Language Barriers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Different cultural beliefs about illness and treatment.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Need for multilingual resources and outreach.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800" b="1" dirty="0"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ystem Pressures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Daily workflow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Reminder system. 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upply issue.</a:t>
            </a:r>
            <a:endParaRPr lang="en-A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F912C54-57FB-DAE4-6EEE-98B15980A42B}"/>
              </a:ext>
            </a:extLst>
          </p:cNvPr>
          <p:cNvSpPr txBox="1">
            <a:spLocks/>
          </p:cNvSpPr>
          <p:nvPr/>
        </p:nvSpPr>
        <p:spPr>
          <a:xfrm>
            <a:off x="368341" y="1267007"/>
            <a:ext cx="4102275" cy="3628034"/>
          </a:xfrm>
          <a:prstGeom prst="rect">
            <a:avLst/>
          </a:prstGeom>
        </p:spPr>
        <p:txBody>
          <a:bodyPr lIns="91440" tIns="45720" rIns="91440" bIns="45720" anchor="t">
            <a:normAutofit lnSpcReduction="10000"/>
          </a:bodyPr>
          <a:lstStyle>
            <a:lvl1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+mj-lt" charset="0"/>
              <a:defRPr sz="3200" kern="1200">
                <a:solidFill>
                  <a:schemeClr val="bg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Parental Hesitancy</a:t>
            </a:r>
          </a:p>
          <a:p>
            <a:pPr lvl="1">
              <a:spcBef>
                <a:spcPts val="0"/>
              </a:spcBef>
            </a:pPr>
            <a:r>
              <a:rPr lang="en-US" sz="18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oncerns about side effects and vaccine safety.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0"/>
              </a:spcBef>
            </a:pPr>
            <a:r>
              <a:rPr lang="en-US" sz="18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nfluence of misinformation and social media.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0"/>
              </a:spcBef>
            </a:pPr>
            <a:r>
              <a:rPr lang="en-US" sz="18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Distrust.</a:t>
            </a:r>
            <a:endParaRPr lang="en-A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AU" sz="1800" b="1" dirty="0"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ccess and equity</a:t>
            </a:r>
          </a:p>
          <a:p>
            <a:pPr lvl="1">
              <a:spcBef>
                <a:spcPts val="0"/>
              </a:spcBef>
            </a:pPr>
            <a:r>
              <a:rPr lang="en-US" sz="18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Remote and rural areas face clinic shortages.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0"/>
              </a:spcBef>
            </a:pPr>
            <a:r>
              <a:rPr lang="en-US" sz="18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Difficult appointment scheduling for working families.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0"/>
              </a:spcBef>
            </a:pPr>
            <a:r>
              <a:rPr lang="en-US" sz="18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Barriers like transportation, cost, or lack of awareness.</a:t>
            </a:r>
            <a:r>
              <a:rPr lang="en-AU" sz="18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</a:p>
          <a:p>
            <a:r>
              <a:rPr lang="en-AU" sz="8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endParaRPr lang="en-AU" sz="800" dirty="0"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95034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6AA68B-70AD-9284-CAA9-18173F3719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BABB1CF-870D-FF73-5AB5-3A17554C4CC1}"/>
              </a:ext>
            </a:extLst>
          </p:cNvPr>
          <p:cNvSpPr/>
          <p:nvPr/>
        </p:nvSpPr>
        <p:spPr>
          <a:xfrm>
            <a:off x="343362" y="362737"/>
            <a:ext cx="5542049" cy="56854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F9031E-311B-F89A-C76A-CA822A10532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66771" y="378323"/>
            <a:ext cx="5710916" cy="544830"/>
          </a:xfrm>
        </p:spPr>
        <p:txBody>
          <a:bodyPr>
            <a:normAutofit fontScale="90000"/>
          </a:bodyPr>
          <a:lstStyle/>
          <a:p>
            <a:r>
              <a:rPr lang="en-US" sz="3200" dirty="0"/>
              <a:t>Evidence based conversations</a:t>
            </a:r>
          </a:p>
        </p:txBody>
      </p:sp>
      <p:sp>
        <p:nvSpPr>
          <p:cNvPr id="4" name="Arrow: Pentagon 3">
            <a:extLst>
              <a:ext uri="{FF2B5EF4-FFF2-40B4-BE49-F238E27FC236}">
                <a16:creationId xmlns:a16="http://schemas.microsoft.com/office/drawing/2014/main" id="{6C2F4BA4-2CEC-D0FD-125E-481414BA77EA}"/>
              </a:ext>
            </a:extLst>
          </p:cNvPr>
          <p:cNvSpPr/>
          <p:nvPr/>
        </p:nvSpPr>
        <p:spPr>
          <a:xfrm>
            <a:off x="343362" y="1025783"/>
            <a:ext cx="2446020" cy="412319"/>
          </a:xfrm>
          <a:prstGeom prst="homePlate">
            <a:avLst>
              <a:gd name="adj" fmla="val 0"/>
            </a:avLst>
          </a:prstGeom>
          <a:solidFill>
            <a:srgbClr val="013D7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Ready to vaccin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7E3533-87C6-1D02-87D3-764C42024126}"/>
              </a:ext>
            </a:extLst>
          </p:cNvPr>
          <p:cNvSpPr txBox="1"/>
          <p:nvPr/>
        </p:nvSpPr>
        <p:spPr>
          <a:xfrm>
            <a:off x="3142982" y="2577722"/>
            <a:ext cx="274242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stions </a:t>
            </a:r>
            <a:r>
              <a:rPr lang="en-A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saturation</a:t>
            </a:r>
            <a:r>
              <a:rPr lang="en-A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ther full list of questions before respond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are resour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k appointment(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8A3C295-AEDB-1945-A1CE-F6CC5767B2D1}"/>
              </a:ext>
            </a:extLst>
          </p:cNvPr>
          <p:cNvSpPr txBox="1"/>
          <p:nvPr/>
        </p:nvSpPr>
        <p:spPr>
          <a:xfrm>
            <a:off x="318096" y="2571750"/>
            <a:ext cx="2471286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ourage patients to ask ques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lk about what to do after vaccination, including adverse eff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ccinate and book follow-up</a:t>
            </a:r>
          </a:p>
          <a:p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7FD71A6-490E-2E8A-AB7A-86683193C606}"/>
              </a:ext>
            </a:extLst>
          </p:cNvPr>
          <p:cNvSpPr txBox="1"/>
          <p:nvPr/>
        </p:nvSpPr>
        <p:spPr>
          <a:xfrm>
            <a:off x="6077687" y="2571750"/>
            <a:ext cx="247128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uss deci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oid debates about </a:t>
            </a:r>
            <a:r>
              <a:rPr lang="en-A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ity </a:t>
            </a:r>
            <a:r>
              <a:rPr lang="en-A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belief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knowledge choice and respec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er patient resources and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sit the discussion la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er if relevant</a:t>
            </a: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214C9BB4-5E09-6E87-E430-7B4AD573604B}"/>
              </a:ext>
            </a:extLst>
          </p:cNvPr>
          <p:cNvSpPr/>
          <p:nvPr/>
        </p:nvSpPr>
        <p:spPr>
          <a:xfrm>
            <a:off x="3142983" y="1025783"/>
            <a:ext cx="2581102" cy="412319"/>
          </a:xfrm>
          <a:prstGeom prst="homePlate">
            <a:avLst>
              <a:gd name="adj" fmla="val 0"/>
            </a:avLst>
          </a:prstGeom>
          <a:solidFill>
            <a:srgbClr val="013D79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Patients with questions</a:t>
            </a: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F9383C5E-5F4E-56F5-CD10-6240DA15D758}"/>
              </a:ext>
            </a:extLst>
          </p:cNvPr>
          <p:cNvSpPr/>
          <p:nvPr/>
        </p:nvSpPr>
        <p:spPr>
          <a:xfrm>
            <a:off x="6077687" y="1020482"/>
            <a:ext cx="2446020" cy="412319"/>
          </a:xfrm>
          <a:prstGeom prst="homePlate">
            <a:avLst>
              <a:gd name="adj" fmla="val 0"/>
            </a:avLst>
          </a:prstGeom>
          <a:solidFill>
            <a:srgbClr val="013D7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Declining vaccination</a:t>
            </a:r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4C919B8C-260D-D837-4B0D-6FF43C3E4FCA}"/>
              </a:ext>
            </a:extLst>
          </p:cNvPr>
          <p:cNvSpPr/>
          <p:nvPr/>
        </p:nvSpPr>
        <p:spPr>
          <a:xfrm>
            <a:off x="343362" y="1532605"/>
            <a:ext cx="2446020" cy="829674"/>
          </a:xfrm>
          <a:prstGeom prst="homePlate">
            <a:avLst>
              <a:gd name="adj" fmla="val 0"/>
            </a:avLst>
          </a:prstGeom>
          <a:solidFill>
            <a:srgbClr val="013D79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Prevent hesita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Promote timely vaccination</a:t>
            </a: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F7B69710-3602-CBE6-9D5E-06CF581CA1BC}"/>
              </a:ext>
            </a:extLst>
          </p:cNvPr>
          <p:cNvSpPr/>
          <p:nvPr/>
        </p:nvSpPr>
        <p:spPr>
          <a:xfrm>
            <a:off x="3150441" y="1545445"/>
            <a:ext cx="2581101" cy="829674"/>
          </a:xfrm>
          <a:prstGeom prst="homePlate">
            <a:avLst>
              <a:gd name="adj" fmla="val 0"/>
            </a:avLst>
          </a:prstGeom>
          <a:solidFill>
            <a:srgbClr val="013D79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Vaccin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Increase vaccine confidence</a:t>
            </a:r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F6D620EC-5F6B-E659-A31E-1D9384E6D1A8}"/>
              </a:ext>
            </a:extLst>
          </p:cNvPr>
          <p:cNvSpPr/>
          <p:nvPr/>
        </p:nvSpPr>
        <p:spPr>
          <a:xfrm>
            <a:off x="6077687" y="1545445"/>
            <a:ext cx="2446020" cy="829674"/>
          </a:xfrm>
          <a:prstGeom prst="homePlate">
            <a:avLst>
              <a:gd name="adj" fmla="val 0"/>
            </a:avLst>
          </a:prstGeom>
          <a:solidFill>
            <a:srgbClr val="013D79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Maintain tru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Keep conversation brief</a:t>
            </a:r>
          </a:p>
        </p:txBody>
      </p:sp>
    </p:spTree>
    <p:extLst>
      <p:ext uri="{BB962C8B-B14F-4D97-AF65-F5344CB8AC3E}">
        <p14:creationId xmlns:p14="http://schemas.microsoft.com/office/powerpoint/2010/main" val="24492456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5E87D3-2A9C-EE6F-A9FF-E64A63C3AE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Looking for your COVID vaccine record? Here's where you'll find it and what  else you'll see - ABC News">
            <a:extLst>
              <a:ext uri="{FF2B5EF4-FFF2-40B4-BE49-F238E27FC236}">
                <a16:creationId xmlns:a16="http://schemas.microsoft.com/office/drawing/2014/main" id="{7B53A1B1-9F02-B800-91A6-D7C77C9966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>
            <a:fillRect/>
          </a:stretch>
        </p:blipFill>
        <p:spPr bwMode="auto">
          <a:xfrm>
            <a:off x="4572000" y="-1325"/>
            <a:ext cx="4572000" cy="5144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450417-D8ED-26B2-E591-99FAC63881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361" y="1187166"/>
            <a:ext cx="3873459" cy="1401463"/>
          </a:xfrm>
          <a:solidFill>
            <a:schemeClr val="bg1"/>
          </a:solidFill>
        </p:spPr>
        <p:txBody>
          <a:bodyPr/>
          <a:lstStyle/>
          <a:p>
            <a:r>
              <a:rPr lang="en-AU">
                <a:solidFill>
                  <a:srgbClr val="002060"/>
                </a:solidFill>
              </a:rPr>
              <a:t>Review missing vaccines at every vaccination event</a:t>
            </a:r>
          </a:p>
        </p:txBody>
      </p:sp>
    </p:spTree>
    <p:extLst>
      <p:ext uri="{BB962C8B-B14F-4D97-AF65-F5344CB8AC3E}">
        <p14:creationId xmlns:p14="http://schemas.microsoft.com/office/powerpoint/2010/main" val="18294612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B6AAE3-2EC1-C0F6-2AF7-A91D83A9F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361" y="1187167"/>
            <a:ext cx="3873459" cy="1016420"/>
          </a:xfrm>
          <a:solidFill>
            <a:schemeClr val="bg1"/>
          </a:solidFill>
        </p:spPr>
        <p:txBody>
          <a:bodyPr/>
          <a:lstStyle/>
          <a:p>
            <a:r>
              <a:rPr lang="en-AU">
                <a:solidFill>
                  <a:srgbClr val="002060"/>
                </a:solidFill>
              </a:rPr>
              <a:t>Focus on </a:t>
            </a:r>
            <a:br>
              <a:rPr lang="en-AU">
                <a:solidFill>
                  <a:srgbClr val="002060"/>
                </a:solidFill>
              </a:rPr>
            </a:br>
            <a:r>
              <a:rPr lang="en-AU">
                <a:solidFill>
                  <a:srgbClr val="002060"/>
                </a:solidFill>
              </a:rPr>
              <a:t>co-administr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C36274-0BBF-0F62-E1AE-7245FD024277}"/>
              </a:ext>
            </a:extLst>
          </p:cNvPr>
          <p:cNvSpPr>
            <a:spLocks noGrp="1"/>
          </p:cNvSpPr>
          <p:nvPr>
            <p:ph sz="half" idx="10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8560909-4D4F-1147-68B6-02151ADE9569}"/>
              </a:ext>
            </a:extLst>
          </p:cNvPr>
          <p:cNvSpPr txBox="1">
            <a:spLocks/>
          </p:cNvSpPr>
          <p:nvPr/>
        </p:nvSpPr>
        <p:spPr bwMode="auto">
          <a:xfrm>
            <a:off x="271088" y="2265354"/>
            <a:ext cx="4093095" cy="2596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AU" sz="1800" b="0"/>
              <a:t>For older patients, in 2025 they are recommended for up to five vaccin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800" b="0"/>
              <a:t>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800" b="0"/>
              <a:t>Influenz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800" b="0"/>
              <a:t>RSV (</a:t>
            </a:r>
            <a:r>
              <a:rPr lang="en-AU" sz="1800" b="0" i="1" err="1"/>
              <a:t>Arevexy</a:t>
            </a:r>
            <a:r>
              <a:rPr lang="en-AU" sz="1800" b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800" b="0"/>
              <a:t>Pneumococc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800" b="0"/>
              <a:t>Shingles (</a:t>
            </a:r>
            <a:r>
              <a:rPr lang="en-AU" sz="1800" b="0" i="1"/>
              <a:t>Shingrix</a:t>
            </a:r>
            <a:r>
              <a:rPr lang="en-AU" sz="1800" b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1800" b="0"/>
          </a:p>
          <a:p>
            <a:r>
              <a:rPr lang="en-AU" sz="1800" b="0"/>
              <a:t>…and potentially others!</a:t>
            </a:r>
          </a:p>
        </p:txBody>
      </p:sp>
      <p:pic>
        <p:nvPicPr>
          <p:cNvPr id="1026" name="Picture 2" descr="A photo of a woman's arm as a medical worker puts a second bandage after giving the woman vaccines.">
            <a:extLst>
              <a:ext uri="{FF2B5EF4-FFF2-40B4-BE49-F238E27FC236}">
                <a16:creationId xmlns:a16="http://schemas.microsoft.com/office/drawing/2014/main" id="{2114A1D6-F82F-E25D-05BC-57F0AAE5BE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51" t="309" r="13129" b="5363"/>
          <a:stretch/>
        </p:blipFill>
        <p:spPr bwMode="auto">
          <a:xfrm>
            <a:off x="4572000" y="16880"/>
            <a:ext cx="4572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A photo of a woman's arm as a medical worker puts a second bandage after giving the woman vaccines.">
            <a:extLst>
              <a:ext uri="{FF2B5EF4-FFF2-40B4-BE49-F238E27FC236}">
                <a16:creationId xmlns:a16="http://schemas.microsoft.com/office/drawing/2014/main" id="{0A8AB2AB-CA64-F9A4-AA7A-2114031D52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40" r="22040" b="5671"/>
          <a:stretch/>
        </p:blipFill>
        <p:spPr bwMode="auto">
          <a:xfrm>
            <a:off x="4572000" y="0"/>
            <a:ext cx="4572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44628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56ADBF-4182-71DD-6BAB-3B07CEB429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499" y="2110774"/>
            <a:ext cx="8559002" cy="731381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687098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E59AE5-25B3-8489-61D1-FC256317C5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2B225B4A-8D06-0C66-EE91-3F7EA7AD4FF9}"/>
              </a:ext>
            </a:extLst>
          </p:cNvPr>
          <p:cNvSpPr/>
          <p:nvPr/>
        </p:nvSpPr>
        <p:spPr>
          <a:xfrm>
            <a:off x="8249171" y="4259759"/>
            <a:ext cx="894833" cy="9007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8"/>
            <a:endParaRPr lang="en-AU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C35D06E-84BD-1991-5116-E45FC670B2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C35D06E-84BD-1991-5116-E45FC670B2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81EACCFD-43D5-E31E-9070-A5CCABB0EAC0}"/>
              </a:ext>
            </a:extLst>
          </p:cNvPr>
          <p:cNvSpPr/>
          <p:nvPr/>
        </p:nvSpPr>
        <p:spPr>
          <a:xfrm>
            <a:off x="89941" y="4259760"/>
            <a:ext cx="1611428" cy="440875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8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NIP or CVCP funded </a:t>
            </a:r>
            <a:br>
              <a:rPr lang="en-US" sz="8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sz="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r eligible patients</a:t>
            </a:r>
            <a:endParaRPr lang="en-AU" sz="6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90A7E40-9EE5-E27B-A9C9-D014E117DC50}"/>
              </a:ext>
            </a:extLst>
          </p:cNvPr>
          <p:cNvSpPr/>
          <p:nvPr/>
        </p:nvSpPr>
        <p:spPr>
          <a:xfrm>
            <a:off x="1765561" y="4261079"/>
            <a:ext cx="1611428" cy="440875"/>
          </a:xfrm>
          <a:prstGeom prst="rect">
            <a:avLst/>
          </a:prstGeom>
          <a:solidFill>
            <a:srgbClr val="B5CD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8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tate funded vaccines</a:t>
            </a:r>
            <a:br>
              <a:rPr lang="en-US" sz="8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sz="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r eligible patients (asterisk * denotes additional eligibility beyond NIP)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E0659CF-0381-8495-0B40-6E90AAAC6197}"/>
              </a:ext>
            </a:extLst>
          </p:cNvPr>
          <p:cNvSpPr txBox="1"/>
          <p:nvPr/>
        </p:nvSpPr>
        <p:spPr>
          <a:xfrm>
            <a:off x="1765562" y="4770061"/>
            <a:ext cx="50168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8"/>
            <a:r>
              <a:rPr lang="en-AU" sz="7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ANT: </a:t>
            </a:r>
            <a:r>
              <a:rPr lang="en-AU" sz="7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restrictions may apply. Refer to state/territory pharmacist vaccination authorisations. Pharmacists must adhere to individual scope of practice, recommendations of the Australian Immunisation Handbook and ATAGI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40F96823-4D90-F6DF-E078-A3AEDFB5E4DA}"/>
              </a:ext>
            </a:extLst>
          </p:cNvPr>
          <p:cNvSpPr txBox="1"/>
          <p:nvPr/>
        </p:nvSpPr>
        <p:spPr>
          <a:xfrm>
            <a:off x="6765122" y="4235122"/>
            <a:ext cx="23069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8"/>
            <a:r>
              <a:rPr lang="en-AU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Only under Victorian Community Pharmacist Statewide Program (VCPSP); </a:t>
            </a:r>
          </a:p>
          <a:p>
            <a:pPr defTabSz="914288"/>
            <a:r>
              <a:rPr lang="en-AU" sz="800" baseline="30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 </a:t>
            </a:r>
            <a:r>
              <a:rPr lang="en-AU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travel, min age 12 + only under VCPSP; </a:t>
            </a:r>
          </a:p>
          <a:p>
            <a:pPr defTabSz="914288"/>
            <a:r>
              <a:rPr lang="en-AU" sz="800" b="1" baseline="30000"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  <a:r>
              <a:rPr lang="en-AU" sz="800">
                <a:latin typeface="Arial" panose="020B0604020202020204" pitchFamily="34" charset="0"/>
                <a:cs typeface="Arial" panose="020B0604020202020204" pitchFamily="34" charset="0"/>
              </a:rPr>
              <a:t>For travel</a:t>
            </a:r>
            <a:r>
              <a:rPr lang="en-AU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in age 15 + only under VCPSP; </a:t>
            </a:r>
          </a:p>
          <a:p>
            <a:pPr defTabSz="914288"/>
            <a:r>
              <a:rPr lang="en-US" sz="800" b="1" baseline="30000"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en-AU" sz="800"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AU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vel, min age 50 + only under VCPSP; </a:t>
            </a:r>
          </a:p>
          <a:p>
            <a:pPr defTabSz="914288"/>
            <a:r>
              <a:rPr lang="en-AU" sz="7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^</a:t>
            </a:r>
            <a:r>
              <a:rPr lang="en-AU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gnant women 28–36 </a:t>
            </a:r>
            <a:r>
              <a:rPr lang="en-AU" sz="80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ks</a:t>
            </a:r>
            <a:r>
              <a:rPr lang="en-AU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esta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8B9E9B0-8642-26A3-3471-0752D2CF9330}"/>
              </a:ext>
            </a:extLst>
          </p:cNvPr>
          <p:cNvSpPr/>
          <p:nvPr/>
        </p:nvSpPr>
        <p:spPr>
          <a:xfrm>
            <a:off x="71925" y="4774689"/>
            <a:ext cx="1611428" cy="283316"/>
          </a:xfrm>
          <a:prstGeom prst="rect">
            <a:avLst/>
          </a:prstGeom>
          <a:solidFill>
            <a:srgbClr val="00B050"/>
          </a:solidFill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NIP funded vaccines may not be available for ordering by community pharmacies. </a:t>
            </a:r>
            <a:endParaRPr lang="en-AU" sz="6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98B8F68-DB0C-7ADE-1C00-ABB821212C64}"/>
              </a:ext>
            </a:extLst>
          </p:cNvPr>
          <p:cNvSpPr/>
          <p:nvPr/>
        </p:nvSpPr>
        <p:spPr>
          <a:xfrm>
            <a:off x="3453864" y="4260262"/>
            <a:ext cx="1611427" cy="4518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8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Non-govt funded vaccines only</a:t>
            </a:r>
            <a:endParaRPr lang="en-AU" sz="8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2434672-C4C4-50BE-B4CF-AD2DD34FFF80}"/>
              </a:ext>
            </a:extLst>
          </p:cNvPr>
          <p:cNvSpPr/>
          <p:nvPr/>
        </p:nvSpPr>
        <p:spPr>
          <a:xfrm>
            <a:off x="5153696" y="4271516"/>
            <a:ext cx="1611426" cy="44087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8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Not permitted</a:t>
            </a:r>
            <a:endParaRPr lang="en-AU" sz="80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306ADE3-2A7A-208E-4FF2-A8F7F5A84342}"/>
              </a:ext>
            </a:extLst>
          </p:cNvPr>
          <p:cNvSpPr txBox="1">
            <a:spLocks/>
          </p:cNvSpPr>
          <p:nvPr/>
        </p:nvSpPr>
        <p:spPr>
          <a:xfrm>
            <a:off x="1302326" y="42991"/>
            <a:ext cx="7841673" cy="482215"/>
          </a:xfrm>
          <a:prstGeom prst="rect">
            <a:avLst/>
          </a:prstGeom>
          <a:noFill/>
        </p:spPr>
        <p:txBody>
          <a:bodyPr anchor="b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604748" indent="-536891" defTabSz="685681">
              <a:lnSpc>
                <a:spcPct val="120000"/>
              </a:lnSpc>
              <a:defRPr/>
            </a:pPr>
            <a:r>
              <a:rPr lang="en-US" sz="24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rmacist vaccine formulary </a:t>
            </a:r>
            <a:r>
              <a:rPr lang="en-US" sz="135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May 2024</a:t>
            </a:r>
            <a:endParaRPr lang="en-US" sz="18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A5FFE4-0012-FCCA-9203-40D7AFB59F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5"/>
            <a:ext cx="9144000" cy="538843"/>
          </a:xfrm>
          <a:prstGeom prst="rect">
            <a:avLst/>
          </a:prstGeom>
        </p:spPr>
      </p:pic>
      <p:sp>
        <p:nvSpPr>
          <p:cNvPr id="88" name="Title 1">
            <a:extLst>
              <a:ext uri="{FF2B5EF4-FFF2-40B4-BE49-F238E27FC236}">
                <a16:creationId xmlns:a16="http://schemas.microsoft.com/office/drawing/2014/main" id="{02D50EEA-996A-1A67-4F14-5706B750D112}"/>
              </a:ext>
            </a:extLst>
          </p:cNvPr>
          <p:cNvSpPr txBox="1">
            <a:spLocks/>
          </p:cNvSpPr>
          <p:nvPr/>
        </p:nvSpPr>
        <p:spPr>
          <a:xfrm>
            <a:off x="1234440" y="18353"/>
            <a:ext cx="7974982" cy="482215"/>
          </a:xfrm>
          <a:prstGeom prst="rect">
            <a:avLst/>
          </a:prstGeom>
          <a:noFill/>
        </p:spPr>
        <p:txBody>
          <a:bodyPr lIns="68580" tIns="34290" rIns="68580" bIns="34290" anchor="b">
            <a:normAutofit fontScale="7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604346" indent="-536720" defTabSz="685681">
              <a:lnSpc>
                <a:spcPct val="120000"/>
              </a:lnSpc>
              <a:defRPr/>
            </a:pPr>
            <a:r>
              <a:rPr lang="en-US" sz="2400" b="1">
                <a:solidFill>
                  <a:prstClr val="white"/>
                </a:solidFill>
                <a:latin typeface="Arial"/>
                <a:cs typeface="Arial"/>
              </a:rPr>
              <a:t>Vaccines that pharmacists can prescribe (initiate) and administer </a:t>
            </a:r>
            <a:r>
              <a:rPr lang="en-US" sz="1650" b="1">
                <a:solidFill>
                  <a:prstClr val="white"/>
                </a:solidFill>
                <a:latin typeface="Arial"/>
                <a:cs typeface="Arial"/>
              </a:rPr>
              <a:t>July 2025</a:t>
            </a:r>
            <a:endParaRPr lang="en-US" sz="165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C2FA6ED-E0D3-1F39-604C-BF825C856264}"/>
              </a:ext>
            </a:extLst>
          </p:cNvPr>
          <p:cNvSpPr/>
          <p:nvPr/>
        </p:nvSpPr>
        <p:spPr>
          <a:xfrm>
            <a:off x="6652766" y="1829457"/>
            <a:ext cx="29085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245808B-3A40-928D-FF52-DA4640123B04}"/>
              </a:ext>
            </a:extLst>
          </p:cNvPr>
          <p:cNvSpPr/>
          <p:nvPr/>
        </p:nvSpPr>
        <p:spPr>
          <a:xfrm>
            <a:off x="6652766" y="1486856"/>
            <a:ext cx="290854" cy="293999"/>
          </a:xfrm>
          <a:prstGeom prst="rect">
            <a:avLst/>
          </a:prstGeom>
          <a:solidFill>
            <a:srgbClr val="A6A6A6"/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4E6F87F-701F-858F-6A67-7ED5FD20114E}"/>
              </a:ext>
            </a:extLst>
          </p:cNvPr>
          <p:cNvSpPr/>
          <p:nvPr/>
        </p:nvSpPr>
        <p:spPr>
          <a:xfrm>
            <a:off x="6652766" y="2514661"/>
            <a:ext cx="289829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9DF2D9B-4B70-ECD6-04D8-5953A2BE9372}"/>
              </a:ext>
            </a:extLst>
          </p:cNvPr>
          <p:cNvSpPr/>
          <p:nvPr/>
        </p:nvSpPr>
        <p:spPr>
          <a:xfrm>
            <a:off x="6652766" y="2172060"/>
            <a:ext cx="289829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32ECD84-AF90-E7B0-C952-9E2B6150838E}"/>
              </a:ext>
            </a:extLst>
          </p:cNvPr>
          <p:cNvSpPr/>
          <p:nvPr/>
        </p:nvSpPr>
        <p:spPr>
          <a:xfrm>
            <a:off x="6652766" y="3199865"/>
            <a:ext cx="29085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^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AB5E659C-FB22-2B56-8EB3-B86A9C4558AE}"/>
              </a:ext>
            </a:extLst>
          </p:cNvPr>
          <p:cNvSpPr/>
          <p:nvPr/>
        </p:nvSpPr>
        <p:spPr>
          <a:xfrm>
            <a:off x="6652766" y="2857262"/>
            <a:ext cx="289829" cy="293999"/>
          </a:xfrm>
          <a:prstGeom prst="rect">
            <a:avLst/>
          </a:prstGeom>
          <a:solidFill>
            <a:srgbClr val="A6A6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FF88F048-009C-AA6E-BA1C-396AEEF8DB38}"/>
              </a:ext>
            </a:extLst>
          </p:cNvPr>
          <p:cNvSpPr/>
          <p:nvPr/>
        </p:nvSpPr>
        <p:spPr>
          <a:xfrm>
            <a:off x="6652766" y="3885066"/>
            <a:ext cx="289829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F10AD2F-86CE-6383-4364-EA26CCFB49DA}"/>
              </a:ext>
            </a:extLst>
          </p:cNvPr>
          <p:cNvSpPr/>
          <p:nvPr/>
        </p:nvSpPr>
        <p:spPr>
          <a:xfrm rot="5400000">
            <a:off x="6357729" y="831263"/>
            <a:ext cx="883190" cy="293115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bies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FD8476F-2A9A-4144-C29A-6FA122800180}"/>
              </a:ext>
            </a:extLst>
          </p:cNvPr>
          <p:cNvSpPr/>
          <p:nvPr/>
        </p:nvSpPr>
        <p:spPr>
          <a:xfrm>
            <a:off x="6652766" y="3542466"/>
            <a:ext cx="29085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CE7EB98F-AD27-F04C-0A88-4D9EBB992519}"/>
              </a:ext>
            </a:extLst>
          </p:cNvPr>
          <p:cNvSpPr/>
          <p:nvPr/>
        </p:nvSpPr>
        <p:spPr>
          <a:xfrm>
            <a:off x="1492216" y="1831486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E0C1C5F4-08EF-212D-716A-83DF28E89541}"/>
              </a:ext>
            </a:extLst>
          </p:cNvPr>
          <p:cNvSpPr/>
          <p:nvPr/>
        </p:nvSpPr>
        <p:spPr>
          <a:xfrm>
            <a:off x="1492216" y="1488882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4AC576F5-FEAF-8B20-3835-FB5635ECBA0F}"/>
              </a:ext>
            </a:extLst>
          </p:cNvPr>
          <p:cNvSpPr/>
          <p:nvPr/>
        </p:nvSpPr>
        <p:spPr>
          <a:xfrm>
            <a:off x="1492216" y="2516687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E2343DBB-1C3B-C400-C2B7-EBF5C47DA8F2}"/>
              </a:ext>
            </a:extLst>
          </p:cNvPr>
          <p:cNvSpPr/>
          <p:nvPr/>
        </p:nvSpPr>
        <p:spPr>
          <a:xfrm>
            <a:off x="1492216" y="2174086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5406AE64-4D64-B2BB-498F-EEEC7855B54E}"/>
              </a:ext>
            </a:extLst>
          </p:cNvPr>
          <p:cNvSpPr/>
          <p:nvPr/>
        </p:nvSpPr>
        <p:spPr>
          <a:xfrm>
            <a:off x="1492216" y="3201891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2AD62768-E9BF-420F-1801-5E3FC481A37C}"/>
              </a:ext>
            </a:extLst>
          </p:cNvPr>
          <p:cNvSpPr/>
          <p:nvPr/>
        </p:nvSpPr>
        <p:spPr>
          <a:xfrm>
            <a:off x="1492216" y="2859290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971C00B7-9467-767D-2C1E-3F6B393DAA3C}"/>
              </a:ext>
            </a:extLst>
          </p:cNvPr>
          <p:cNvSpPr/>
          <p:nvPr/>
        </p:nvSpPr>
        <p:spPr>
          <a:xfrm>
            <a:off x="1492216" y="3887092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B9BDDCD5-74D4-0FD1-D893-EA54BAB91C95}"/>
              </a:ext>
            </a:extLst>
          </p:cNvPr>
          <p:cNvSpPr/>
          <p:nvPr/>
        </p:nvSpPr>
        <p:spPr>
          <a:xfrm>
            <a:off x="1492216" y="3544492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68B57D32-9709-6398-C517-4FC0D8A4B2C6}"/>
              </a:ext>
            </a:extLst>
          </p:cNvPr>
          <p:cNvSpPr/>
          <p:nvPr/>
        </p:nvSpPr>
        <p:spPr>
          <a:xfrm rot="5400000">
            <a:off x="1197800" y="833581"/>
            <a:ext cx="881946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b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7829BAA1-67A9-9A04-0D3F-774D78512ED1}"/>
              </a:ext>
            </a:extLst>
          </p:cNvPr>
          <p:cNvSpPr/>
          <p:nvPr/>
        </p:nvSpPr>
        <p:spPr>
          <a:xfrm>
            <a:off x="1834960" y="1831486"/>
            <a:ext cx="293114" cy="293999"/>
          </a:xfrm>
          <a:prstGeom prst="rect">
            <a:avLst/>
          </a:prstGeom>
          <a:solidFill>
            <a:srgbClr val="B5CD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1B4A2F6E-4C3F-E21A-7C7F-7BE37AEDEAE8}"/>
              </a:ext>
            </a:extLst>
          </p:cNvPr>
          <p:cNvSpPr/>
          <p:nvPr/>
        </p:nvSpPr>
        <p:spPr>
          <a:xfrm>
            <a:off x="1834960" y="1488882"/>
            <a:ext cx="29311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12963019-3D33-C133-5F28-F52615862955}"/>
              </a:ext>
            </a:extLst>
          </p:cNvPr>
          <p:cNvSpPr/>
          <p:nvPr/>
        </p:nvSpPr>
        <p:spPr>
          <a:xfrm>
            <a:off x="1834960" y="2516687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8A92D938-0DC4-DCCC-FA30-BFADE303A623}"/>
              </a:ext>
            </a:extLst>
          </p:cNvPr>
          <p:cNvSpPr/>
          <p:nvPr/>
        </p:nvSpPr>
        <p:spPr>
          <a:xfrm>
            <a:off x="1834960" y="2174086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7C5CE998-0335-1066-11EB-005CFE106226}"/>
              </a:ext>
            </a:extLst>
          </p:cNvPr>
          <p:cNvSpPr/>
          <p:nvPr/>
        </p:nvSpPr>
        <p:spPr>
          <a:xfrm>
            <a:off x="1834960" y="3201891"/>
            <a:ext cx="29311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10E8F53E-2019-3C38-9547-3B82778C0B2C}"/>
              </a:ext>
            </a:extLst>
          </p:cNvPr>
          <p:cNvSpPr/>
          <p:nvPr/>
        </p:nvSpPr>
        <p:spPr>
          <a:xfrm>
            <a:off x="1834960" y="2859290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B36A409B-F165-7878-E288-EF7C8410816F}"/>
              </a:ext>
            </a:extLst>
          </p:cNvPr>
          <p:cNvSpPr/>
          <p:nvPr/>
        </p:nvSpPr>
        <p:spPr>
          <a:xfrm>
            <a:off x="1834960" y="3887092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E9EC30A5-31C4-0297-CDE6-6676E9C8AB0C}"/>
              </a:ext>
            </a:extLst>
          </p:cNvPr>
          <p:cNvSpPr/>
          <p:nvPr/>
        </p:nvSpPr>
        <p:spPr>
          <a:xfrm>
            <a:off x="1834960" y="3544492"/>
            <a:ext cx="29311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AU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D92E5981-8060-7463-BB7B-21355EF72CF4}"/>
              </a:ext>
            </a:extLst>
          </p:cNvPr>
          <p:cNvSpPr/>
          <p:nvPr/>
        </p:nvSpPr>
        <p:spPr>
          <a:xfrm rot="5400000">
            <a:off x="1540541" y="833584"/>
            <a:ext cx="881949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p 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60D0D77-2C4A-82D4-5F33-3C2F2A882C8F}"/>
              </a:ext>
            </a:extLst>
          </p:cNvPr>
          <p:cNvSpPr/>
          <p:nvPr/>
        </p:nvSpPr>
        <p:spPr>
          <a:xfrm>
            <a:off x="98381" y="1822989"/>
            <a:ext cx="334596" cy="293998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" bIns="0" rtlCol="0" anchor="ctr"/>
          <a:lstStyle/>
          <a:p>
            <a:pPr algn="r" defTabSz="914198">
              <a:defRPr/>
            </a:pPr>
            <a:r>
              <a:rPr lang="en-US" sz="9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W</a:t>
            </a:r>
            <a:endParaRPr lang="en-AU" sz="9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D15ADF-80AC-0A93-29BF-ACCAFD3A9BDD}"/>
              </a:ext>
            </a:extLst>
          </p:cNvPr>
          <p:cNvSpPr/>
          <p:nvPr/>
        </p:nvSpPr>
        <p:spPr>
          <a:xfrm>
            <a:off x="98381" y="1485864"/>
            <a:ext cx="334596" cy="297012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" bIns="0" rtlCol="0" anchor="ctr"/>
          <a:lstStyle/>
          <a:p>
            <a:pPr algn="r" defTabSz="914198">
              <a:defRPr/>
            </a:pPr>
            <a:r>
              <a:rPr lang="en-US" sz="9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</a:t>
            </a:r>
            <a:endParaRPr lang="en-AU" sz="9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8315541-54DB-246F-0639-05733EB7120D}"/>
              </a:ext>
            </a:extLst>
          </p:cNvPr>
          <p:cNvSpPr/>
          <p:nvPr/>
        </p:nvSpPr>
        <p:spPr>
          <a:xfrm>
            <a:off x="98381" y="2510718"/>
            <a:ext cx="334596" cy="293998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" bIns="0" rtlCol="0" anchor="ctr"/>
          <a:lstStyle/>
          <a:p>
            <a:pPr algn="r" defTabSz="914198">
              <a:defRPr/>
            </a:pPr>
            <a:r>
              <a:rPr lang="en-US" sz="9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LD</a:t>
            </a:r>
            <a:endParaRPr lang="en-AU" sz="9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987B5CB-06F1-FDF6-B389-8909BB8B4830}"/>
              </a:ext>
            </a:extLst>
          </p:cNvPr>
          <p:cNvSpPr/>
          <p:nvPr/>
        </p:nvSpPr>
        <p:spPr>
          <a:xfrm>
            <a:off x="98381" y="2166854"/>
            <a:ext cx="334596" cy="293998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" bIns="0" rtlCol="0" anchor="ctr"/>
          <a:lstStyle/>
          <a:p>
            <a:pPr algn="r" defTabSz="914198">
              <a:defRPr/>
            </a:pPr>
            <a:r>
              <a:rPr lang="en-US" sz="9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</a:t>
            </a:r>
            <a:endParaRPr lang="en-AU" sz="9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E275C15-0461-77F5-BC7C-9B39A54C2D4A}"/>
              </a:ext>
            </a:extLst>
          </p:cNvPr>
          <p:cNvSpPr/>
          <p:nvPr/>
        </p:nvSpPr>
        <p:spPr>
          <a:xfrm>
            <a:off x="98381" y="3198447"/>
            <a:ext cx="334596" cy="293998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" bIns="0" rtlCol="0" anchor="ctr"/>
          <a:lstStyle/>
          <a:p>
            <a:pPr algn="r" defTabSz="914198">
              <a:defRPr/>
            </a:pPr>
            <a:r>
              <a:rPr lang="en-US" sz="9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</a:t>
            </a:r>
            <a:endParaRPr lang="en-AU" sz="9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97F1B57-F685-FCC8-B7CC-D198ED9DABEE}"/>
              </a:ext>
            </a:extLst>
          </p:cNvPr>
          <p:cNvSpPr/>
          <p:nvPr/>
        </p:nvSpPr>
        <p:spPr>
          <a:xfrm>
            <a:off x="98381" y="2854583"/>
            <a:ext cx="334596" cy="293998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" bIns="0" rtlCol="0" anchor="ctr"/>
          <a:lstStyle/>
          <a:p>
            <a:pPr algn="r" defTabSz="914198">
              <a:defRPr/>
            </a:pPr>
            <a:r>
              <a:rPr lang="en-US" sz="9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</a:t>
            </a:r>
            <a:endParaRPr lang="en-AU" sz="9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2035D11-837F-18BD-DE7A-56623E16B60C}"/>
              </a:ext>
            </a:extLst>
          </p:cNvPr>
          <p:cNvSpPr/>
          <p:nvPr/>
        </p:nvSpPr>
        <p:spPr>
          <a:xfrm>
            <a:off x="98381" y="3886178"/>
            <a:ext cx="334596" cy="293998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" bIns="0" rtlCol="0" anchor="ctr"/>
          <a:lstStyle/>
          <a:p>
            <a:pPr algn="r" defTabSz="914198">
              <a:defRPr/>
            </a:pPr>
            <a:r>
              <a:rPr lang="en-US" sz="9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</a:t>
            </a:r>
            <a:endParaRPr lang="en-AU" sz="9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FF15A51D-32EA-7DBC-599D-413406314176}"/>
              </a:ext>
            </a:extLst>
          </p:cNvPr>
          <p:cNvSpPr/>
          <p:nvPr/>
        </p:nvSpPr>
        <p:spPr>
          <a:xfrm>
            <a:off x="98381" y="3542313"/>
            <a:ext cx="334596" cy="293998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" bIns="0" rtlCol="0" anchor="ctr"/>
          <a:lstStyle/>
          <a:p>
            <a:pPr algn="r" defTabSz="914198">
              <a:defRPr/>
            </a:pPr>
            <a:r>
              <a:rPr lang="en-US" sz="9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C</a:t>
            </a:r>
            <a:endParaRPr lang="en-AU" sz="9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412B199A-C6BC-97DB-8496-3BED458E1DB4}"/>
              </a:ext>
            </a:extLst>
          </p:cNvPr>
          <p:cNvSpPr/>
          <p:nvPr/>
        </p:nvSpPr>
        <p:spPr>
          <a:xfrm>
            <a:off x="2177703" y="182390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1C8CD52E-D2B2-6A27-A1F9-CC9553B61983}"/>
              </a:ext>
            </a:extLst>
          </p:cNvPr>
          <p:cNvSpPr/>
          <p:nvPr/>
        </p:nvSpPr>
        <p:spPr>
          <a:xfrm>
            <a:off x="2177703" y="1488930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E4073204-82D6-B067-471B-37678ED0BBE7}"/>
              </a:ext>
            </a:extLst>
          </p:cNvPr>
          <p:cNvSpPr/>
          <p:nvPr/>
        </p:nvSpPr>
        <p:spPr>
          <a:xfrm>
            <a:off x="2177703" y="2511633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7306855D-9652-E853-2C18-528E99C12EAF}"/>
              </a:ext>
            </a:extLst>
          </p:cNvPr>
          <p:cNvSpPr/>
          <p:nvPr/>
        </p:nvSpPr>
        <p:spPr>
          <a:xfrm>
            <a:off x="2177703" y="216776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23DEA8D5-F837-A530-6F29-9BA9D4C97A72}"/>
              </a:ext>
            </a:extLst>
          </p:cNvPr>
          <p:cNvSpPr/>
          <p:nvPr/>
        </p:nvSpPr>
        <p:spPr>
          <a:xfrm>
            <a:off x="2177703" y="319936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89E98B77-A7B9-210B-3FD1-4F7BE2BE8C52}"/>
              </a:ext>
            </a:extLst>
          </p:cNvPr>
          <p:cNvSpPr/>
          <p:nvPr/>
        </p:nvSpPr>
        <p:spPr>
          <a:xfrm>
            <a:off x="2177703" y="2855498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FDB5E770-C537-9EFC-F850-E7AEA4B47674}"/>
              </a:ext>
            </a:extLst>
          </p:cNvPr>
          <p:cNvSpPr/>
          <p:nvPr/>
        </p:nvSpPr>
        <p:spPr>
          <a:xfrm>
            <a:off x="2177703" y="3887092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CD4A1D3C-220A-0C8F-2038-5782A1D465FC}"/>
              </a:ext>
            </a:extLst>
          </p:cNvPr>
          <p:cNvSpPr/>
          <p:nvPr/>
        </p:nvSpPr>
        <p:spPr>
          <a:xfrm>
            <a:off x="2177703" y="3543228"/>
            <a:ext cx="293114" cy="293999"/>
          </a:xfrm>
          <a:prstGeom prst="rect">
            <a:avLst/>
          </a:prstGeom>
          <a:solidFill>
            <a:srgbClr val="B5CE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</a:t>
            </a:r>
            <a:r>
              <a:rPr lang="en-US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</a:t>
            </a:r>
            <a:endParaRPr lang="en-AU" sz="1200" b="1" baseline="300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091127E9-0F1D-5323-FE75-BD8195FFE40E}"/>
              </a:ext>
            </a:extLst>
          </p:cNvPr>
          <p:cNvSpPr/>
          <p:nvPr/>
        </p:nvSpPr>
        <p:spPr>
          <a:xfrm rot="5400000">
            <a:off x="1883288" y="833578"/>
            <a:ext cx="881943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p B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6CC3B832-6D52-7DC8-A5C2-DBCC5291556D}"/>
              </a:ext>
            </a:extLst>
          </p:cNvPr>
          <p:cNvSpPr/>
          <p:nvPr/>
        </p:nvSpPr>
        <p:spPr>
          <a:xfrm>
            <a:off x="2520445" y="182390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E19CB35F-A8F1-75DB-3E81-742B9B31AC34}"/>
              </a:ext>
            </a:extLst>
          </p:cNvPr>
          <p:cNvSpPr/>
          <p:nvPr/>
        </p:nvSpPr>
        <p:spPr>
          <a:xfrm>
            <a:off x="2520445" y="1488884"/>
            <a:ext cx="293114" cy="297011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56B33BD5-559A-FB14-E2CA-E49273D1FAA7}"/>
              </a:ext>
            </a:extLst>
          </p:cNvPr>
          <p:cNvSpPr/>
          <p:nvPr/>
        </p:nvSpPr>
        <p:spPr>
          <a:xfrm>
            <a:off x="2520445" y="251163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4C1146E2-2465-981E-4397-492BEF556114}"/>
              </a:ext>
            </a:extLst>
          </p:cNvPr>
          <p:cNvSpPr/>
          <p:nvPr/>
        </p:nvSpPr>
        <p:spPr>
          <a:xfrm>
            <a:off x="2520445" y="216776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1D7E30A-4F0C-55E1-3A27-B16B1A8C09B6}"/>
              </a:ext>
            </a:extLst>
          </p:cNvPr>
          <p:cNvSpPr/>
          <p:nvPr/>
        </p:nvSpPr>
        <p:spPr>
          <a:xfrm>
            <a:off x="2520445" y="319936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E41CB0E4-9FA6-2791-A9DF-677CD3F152E2}"/>
              </a:ext>
            </a:extLst>
          </p:cNvPr>
          <p:cNvSpPr/>
          <p:nvPr/>
        </p:nvSpPr>
        <p:spPr>
          <a:xfrm>
            <a:off x="2520445" y="285549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5651B439-73B9-F782-96B6-E931CF0E5C67}"/>
              </a:ext>
            </a:extLst>
          </p:cNvPr>
          <p:cNvSpPr/>
          <p:nvPr/>
        </p:nvSpPr>
        <p:spPr>
          <a:xfrm>
            <a:off x="2520445" y="3887092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FD233559-65A5-386F-C3B6-CE9D6D7AD49C}"/>
              </a:ext>
            </a:extLst>
          </p:cNvPr>
          <p:cNvSpPr/>
          <p:nvPr/>
        </p:nvSpPr>
        <p:spPr>
          <a:xfrm>
            <a:off x="2520445" y="354322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endParaRPr lang="en-AU" sz="1200" b="1" baseline="300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A1D205C6-5CAF-B470-D402-5ACA116F3A97}"/>
              </a:ext>
            </a:extLst>
          </p:cNvPr>
          <p:cNvSpPr/>
          <p:nvPr/>
        </p:nvSpPr>
        <p:spPr>
          <a:xfrm rot="5400000">
            <a:off x="2226033" y="833581"/>
            <a:ext cx="881944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pes zoster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BB61919E-A15F-8187-19FF-6C130F2ECB5E}"/>
              </a:ext>
            </a:extLst>
          </p:cNvPr>
          <p:cNvSpPr/>
          <p:nvPr/>
        </p:nvSpPr>
        <p:spPr>
          <a:xfrm>
            <a:off x="2863189" y="182390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8E9C3A83-132C-5F64-EF44-6EF2727246CF}"/>
              </a:ext>
            </a:extLst>
          </p:cNvPr>
          <p:cNvSpPr/>
          <p:nvPr/>
        </p:nvSpPr>
        <p:spPr>
          <a:xfrm>
            <a:off x="2863189" y="1488884"/>
            <a:ext cx="293114" cy="297011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D6A9E5A9-6D5D-4E24-D0C0-66F1405D204A}"/>
              </a:ext>
            </a:extLst>
          </p:cNvPr>
          <p:cNvSpPr/>
          <p:nvPr/>
        </p:nvSpPr>
        <p:spPr>
          <a:xfrm>
            <a:off x="2863189" y="251163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566076B5-2799-14CD-140D-12C857CC1F4D}"/>
              </a:ext>
            </a:extLst>
          </p:cNvPr>
          <p:cNvSpPr/>
          <p:nvPr/>
        </p:nvSpPr>
        <p:spPr>
          <a:xfrm>
            <a:off x="2863189" y="216776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62EFD07A-1A77-3D53-5AB3-A34E205E82B4}"/>
              </a:ext>
            </a:extLst>
          </p:cNvPr>
          <p:cNvSpPr/>
          <p:nvPr/>
        </p:nvSpPr>
        <p:spPr>
          <a:xfrm>
            <a:off x="2863189" y="319936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33F6660C-4E38-A183-50B0-915473CA59E4}"/>
              </a:ext>
            </a:extLst>
          </p:cNvPr>
          <p:cNvSpPr/>
          <p:nvPr/>
        </p:nvSpPr>
        <p:spPr>
          <a:xfrm>
            <a:off x="2863189" y="285549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8B72A2B0-2A1F-7446-63AE-7D2736BE5483}"/>
              </a:ext>
            </a:extLst>
          </p:cNvPr>
          <p:cNvSpPr/>
          <p:nvPr/>
        </p:nvSpPr>
        <p:spPr>
          <a:xfrm>
            <a:off x="2863189" y="3887092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64C1EBF9-E3B2-7121-E035-C030DA513429}"/>
              </a:ext>
            </a:extLst>
          </p:cNvPr>
          <p:cNvSpPr/>
          <p:nvPr/>
        </p:nvSpPr>
        <p:spPr>
          <a:xfrm>
            <a:off x="2863189" y="354322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endParaRPr lang="en-AU" sz="1200" b="1" baseline="300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F5BEFF3F-284B-B179-F5BF-8DB99675BBAB}"/>
              </a:ext>
            </a:extLst>
          </p:cNvPr>
          <p:cNvSpPr/>
          <p:nvPr/>
        </p:nvSpPr>
        <p:spPr>
          <a:xfrm rot="5400000">
            <a:off x="2568778" y="833581"/>
            <a:ext cx="881943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PV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8E3F01D5-CA5C-5B6A-6938-7D418E4AD5ED}"/>
              </a:ext>
            </a:extLst>
          </p:cNvPr>
          <p:cNvSpPr/>
          <p:nvPr/>
        </p:nvSpPr>
        <p:spPr>
          <a:xfrm>
            <a:off x="3205935" y="182390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4859AF45-A7B1-9D22-FF98-868BA01FB73B}"/>
              </a:ext>
            </a:extLst>
          </p:cNvPr>
          <p:cNvSpPr/>
          <p:nvPr/>
        </p:nvSpPr>
        <p:spPr>
          <a:xfrm>
            <a:off x="3205935" y="1488880"/>
            <a:ext cx="293114" cy="297012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82CB419F-4395-5B19-66FF-608F4ECBBE71}"/>
              </a:ext>
            </a:extLst>
          </p:cNvPr>
          <p:cNvSpPr/>
          <p:nvPr/>
        </p:nvSpPr>
        <p:spPr>
          <a:xfrm>
            <a:off x="3205935" y="251163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5FEA4A3C-F24B-9AAB-F776-F8964F07E010}"/>
              </a:ext>
            </a:extLst>
          </p:cNvPr>
          <p:cNvSpPr/>
          <p:nvPr/>
        </p:nvSpPr>
        <p:spPr>
          <a:xfrm>
            <a:off x="3205935" y="216776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0B87ED7E-7DA2-C7C3-C147-43C90A28DFB8}"/>
              </a:ext>
            </a:extLst>
          </p:cNvPr>
          <p:cNvSpPr/>
          <p:nvPr/>
        </p:nvSpPr>
        <p:spPr>
          <a:xfrm>
            <a:off x="3205935" y="319936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FC8E2D92-CD40-272D-DDF8-3E10BCCE41C2}"/>
              </a:ext>
            </a:extLst>
          </p:cNvPr>
          <p:cNvSpPr/>
          <p:nvPr/>
        </p:nvSpPr>
        <p:spPr>
          <a:xfrm>
            <a:off x="3205935" y="285549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CD01DC67-B5D0-9DF7-EC01-AFEAE610B1DA}"/>
              </a:ext>
            </a:extLst>
          </p:cNvPr>
          <p:cNvSpPr/>
          <p:nvPr/>
        </p:nvSpPr>
        <p:spPr>
          <a:xfrm>
            <a:off x="3205935" y="3887092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0FA07AB6-72DF-736E-45B5-B3AFFF7811EE}"/>
              </a:ext>
            </a:extLst>
          </p:cNvPr>
          <p:cNvSpPr/>
          <p:nvPr/>
        </p:nvSpPr>
        <p:spPr>
          <a:xfrm>
            <a:off x="3205935" y="354322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9D5A5C33-98B6-337E-755C-B674C82088E6}"/>
              </a:ext>
            </a:extLst>
          </p:cNvPr>
          <p:cNvSpPr/>
          <p:nvPr/>
        </p:nvSpPr>
        <p:spPr>
          <a:xfrm rot="5400000">
            <a:off x="2911521" y="833581"/>
            <a:ext cx="881944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uenza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04D3640C-8055-3471-759C-CBD765E91DFD}"/>
              </a:ext>
            </a:extLst>
          </p:cNvPr>
          <p:cNvSpPr/>
          <p:nvPr/>
        </p:nvSpPr>
        <p:spPr>
          <a:xfrm>
            <a:off x="3548679" y="1823903"/>
            <a:ext cx="293114" cy="293999"/>
          </a:xfrm>
          <a:prstGeom prst="rect">
            <a:avLst/>
          </a:prstGeom>
          <a:solidFill>
            <a:srgbClr val="B5CD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D7D98731-ECF2-2D16-0C02-878CC3418B92}"/>
              </a:ext>
            </a:extLst>
          </p:cNvPr>
          <p:cNvSpPr/>
          <p:nvPr/>
        </p:nvSpPr>
        <p:spPr>
          <a:xfrm>
            <a:off x="3548679" y="1485966"/>
            <a:ext cx="293114" cy="299926"/>
          </a:xfrm>
          <a:prstGeom prst="rect">
            <a:avLst/>
          </a:prstGeom>
          <a:solidFill>
            <a:srgbClr val="A6A6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EAF4716B-600C-AD66-5916-407BA2B84551}"/>
              </a:ext>
            </a:extLst>
          </p:cNvPr>
          <p:cNvSpPr/>
          <p:nvPr/>
        </p:nvSpPr>
        <p:spPr>
          <a:xfrm>
            <a:off x="3548679" y="2511633"/>
            <a:ext cx="29311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6075594B-3580-5F4F-CD82-A88278101B10}"/>
              </a:ext>
            </a:extLst>
          </p:cNvPr>
          <p:cNvSpPr/>
          <p:nvPr/>
        </p:nvSpPr>
        <p:spPr>
          <a:xfrm>
            <a:off x="3548679" y="2167768"/>
            <a:ext cx="293114" cy="293999"/>
          </a:xfrm>
          <a:prstGeom prst="rect">
            <a:avLst/>
          </a:prstGeom>
          <a:solidFill>
            <a:srgbClr val="B5CD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BB76754E-BF7F-59E9-C2EA-BBEB6E9CC727}"/>
              </a:ext>
            </a:extLst>
          </p:cNvPr>
          <p:cNvSpPr/>
          <p:nvPr/>
        </p:nvSpPr>
        <p:spPr>
          <a:xfrm>
            <a:off x="3548679" y="3199363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^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A1E36338-DF60-6C53-527D-6B7E50748064}"/>
              </a:ext>
            </a:extLst>
          </p:cNvPr>
          <p:cNvSpPr/>
          <p:nvPr/>
        </p:nvSpPr>
        <p:spPr>
          <a:xfrm>
            <a:off x="3548679" y="2855498"/>
            <a:ext cx="293114" cy="293999"/>
          </a:xfrm>
          <a:prstGeom prst="rect">
            <a:avLst/>
          </a:prstGeom>
          <a:solidFill>
            <a:srgbClr val="B5CD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B0D16EE3-5E66-E8BE-6FCF-16BC1DF226B2}"/>
              </a:ext>
            </a:extLst>
          </p:cNvPr>
          <p:cNvSpPr/>
          <p:nvPr/>
        </p:nvSpPr>
        <p:spPr>
          <a:xfrm>
            <a:off x="3548679" y="3887092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F595361E-9AC9-8AF8-90A7-9E2245860BCE}"/>
              </a:ext>
            </a:extLst>
          </p:cNvPr>
          <p:cNvSpPr/>
          <p:nvPr/>
        </p:nvSpPr>
        <p:spPr>
          <a:xfrm>
            <a:off x="3548679" y="3543228"/>
            <a:ext cx="293114" cy="293999"/>
          </a:xfrm>
          <a:prstGeom prst="rect">
            <a:avLst/>
          </a:prstGeom>
          <a:solidFill>
            <a:srgbClr val="B5CD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250CE7E7-4303-5286-6BE2-C50F963676F5}"/>
              </a:ext>
            </a:extLst>
          </p:cNvPr>
          <p:cNvSpPr/>
          <p:nvPr/>
        </p:nvSpPr>
        <p:spPr>
          <a:xfrm rot="5400000">
            <a:off x="3254265" y="833581"/>
            <a:ext cx="881944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031A8DCB-5FB5-E13C-C931-F9A7ECBF78A4}"/>
              </a:ext>
            </a:extLst>
          </p:cNvPr>
          <p:cNvSpPr/>
          <p:nvPr/>
        </p:nvSpPr>
        <p:spPr>
          <a:xfrm>
            <a:off x="3891423" y="182390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82C3B0B3-3CB1-CDC5-5235-9DCB956238C9}"/>
              </a:ext>
            </a:extLst>
          </p:cNvPr>
          <p:cNvSpPr/>
          <p:nvPr/>
        </p:nvSpPr>
        <p:spPr>
          <a:xfrm>
            <a:off x="3891423" y="1485869"/>
            <a:ext cx="293114" cy="300025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4C63525A-9131-1481-D6E3-FE7C5785BA5B}"/>
              </a:ext>
            </a:extLst>
          </p:cNvPr>
          <p:cNvSpPr/>
          <p:nvPr/>
        </p:nvSpPr>
        <p:spPr>
          <a:xfrm>
            <a:off x="3891423" y="2511633"/>
            <a:ext cx="293114" cy="293999"/>
          </a:xfrm>
          <a:prstGeom prst="rect">
            <a:avLst/>
          </a:prstGeom>
          <a:solidFill>
            <a:srgbClr val="00B050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5F84A3DF-2A59-065E-1559-2FEE9B577177}"/>
              </a:ext>
            </a:extLst>
          </p:cNvPr>
          <p:cNvSpPr/>
          <p:nvPr/>
        </p:nvSpPr>
        <p:spPr>
          <a:xfrm>
            <a:off x="3891423" y="216776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E9F3F9FB-17BC-6D97-8D05-2BE7EAA84CD7}"/>
              </a:ext>
            </a:extLst>
          </p:cNvPr>
          <p:cNvSpPr/>
          <p:nvPr/>
        </p:nvSpPr>
        <p:spPr>
          <a:xfrm>
            <a:off x="3891423" y="319936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DD53BB49-70BC-9371-AAA9-5BF7BE634789}"/>
              </a:ext>
            </a:extLst>
          </p:cNvPr>
          <p:cNvSpPr/>
          <p:nvPr/>
        </p:nvSpPr>
        <p:spPr>
          <a:xfrm>
            <a:off x="3891423" y="2855498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77CF11DF-F011-215B-139C-8DF16C43D38D}"/>
              </a:ext>
            </a:extLst>
          </p:cNvPr>
          <p:cNvSpPr/>
          <p:nvPr/>
        </p:nvSpPr>
        <p:spPr>
          <a:xfrm>
            <a:off x="3891423" y="3887092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29C3D038-9A81-0D3B-0DD4-7677DCA62D78}"/>
              </a:ext>
            </a:extLst>
          </p:cNvPr>
          <p:cNvSpPr/>
          <p:nvPr/>
        </p:nvSpPr>
        <p:spPr>
          <a:xfrm>
            <a:off x="3891423" y="354322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</a:t>
            </a:r>
            <a:r>
              <a:rPr lang="en-AU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31D03B69-17E0-7DD2-A0A4-26B877D9B4A4}"/>
              </a:ext>
            </a:extLst>
          </p:cNvPr>
          <p:cNvSpPr/>
          <p:nvPr/>
        </p:nvSpPr>
        <p:spPr>
          <a:xfrm rot="5400000">
            <a:off x="3597008" y="833578"/>
            <a:ext cx="881943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R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CE6C74A4-595A-CC36-B0D0-594A56E3D4E0}"/>
              </a:ext>
            </a:extLst>
          </p:cNvPr>
          <p:cNvSpPr/>
          <p:nvPr/>
        </p:nvSpPr>
        <p:spPr>
          <a:xfrm>
            <a:off x="4234167" y="182390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6CB396BB-7159-4F47-76B8-1C3B8FA14B8B}"/>
              </a:ext>
            </a:extLst>
          </p:cNvPr>
          <p:cNvSpPr/>
          <p:nvPr/>
        </p:nvSpPr>
        <p:spPr>
          <a:xfrm>
            <a:off x="4234167" y="1485869"/>
            <a:ext cx="293114" cy="300025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E4910468-CE83-9745-BC6E-9A692CECA826}"/>
              </a:ext>
            </a:extLst>
          </p:cNvPr>
          <p:cNvSpPr/>
          <p:nvPr/>
        </p:nvSpPr>
        <p:spPr>
          <a:xfrm>
            <a:off x="4234167" y="251163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28AA28DA-F6E5-7777-E72D-C009B84763E7}"/>
              </a:ext>
            </a:extLst>
          </p:cNvPr>
          <p:cNvSpPr/>
          <p:nvPr/>
        </p:nvSpPr>
        <p:spPr>
          <a:xfrm>
            <a:off x="4234167" y="216776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B3EF56E4-880D-79B7-7855-3ACD2A5373D4}"/>
              </a:ext>
            </a:extLst>
          </p:cNvPr>
          <p:cNvSpPr/>
          <p:nvPr/>
        </p:nvSpPr>
        <p:spPr>
          <a:xfrm>
            <a:off x="4234167" y="319936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C9800A74-30F9-3B32-36E1-0C2028A9AED5}"/>
              </a:ext>
            </a:extLst>
          </p:cNvPr>
          <p:cNvSpPr/>
          <p:nvPr/>
        </p:nvSpPr>
        <p:spPr>
          <a:xfrm>
            <a:off x="4234167" y="285549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94006EA1-BDC9-9C11-6037-9399C47AAD18}"/>
              </a:ext>
            </a:extLst>
          </p:cNvPr>
          <p:cNvSpPr/>
          <p:nvPr/>
        </p:nvSpPr>
        <p:spPr>
          <a:xfrm>
            <a:off x="4234167" y="3887092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6EB264EC-3404-064B-55DC-158AC0FBD117}"/>
              </a:ext>
            </a:extLst>
          </p:cNvPr>
          <p:cNvSpPr/>
          <p:nvPr/>
        </p:nvSpPr>
        <p:spPr>
          <a:xfrm>
            <a:off x="4234167" y="354322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AU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A9D48271-62DF-E5D1-57E3-C016F363335A}"/>
              </a:ext>
            </a:extLst>
          </p:cNvPr>
          <p:cNvSpPr/>
          <p:nvPr/>
        </p:nvSpPr>
        <p:spPr>
          <a:xfrm rot="5400000">
            <a:off x="3939753" y="833581"/>
            <a:ext cx="881944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 ACWY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8BD7A906-505D-0764-BD70-6DB881833933}"/>
              </a:ext>
            </a:extLst>
          </p:cNvPr>
          <p:cNvSpPr/>
          <p:nvPr/>
        </p:nvSpPr>
        <p:spPr>
          <a:xfrm>
            <a:off x="4576911" y="182390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72342574-7FC3-0DE2-7BD2-7F67434471E9}"/>
              </a:ext>
            </a:extLst>
          </p:cNvPr>
          <p:cNvSpPr/>
          <p:nvPr/>
        </p:nvSpPr>
        <p:spPr>
          <a:xfrm>
            <a:off x="4576911" y="1491894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F60CA64C-167F-3EEC-55C9-84303E1489E0}"/>
              </a:ext>
            </a:extLst>
          </p:cNvPr>
          <p:cNvSpPr/>
          <p:nvPr/>
        </p:nvSpPr>
        <p:spPr>
          <a:xfrm>
            <a:off x="4576911" y="251163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*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D436BBAF-A7EB-6048-BAB3-94DE392CEA47}"/>
              </a:ext>
            </a:extLst>
          </p:cNvPr>
          <p:cNvSpPr/>
          <p:nvPr/>
        </p:nvSpPr>
        <p:spPr>
          <a:xfrm>
            <a:off x="4576911" y="216776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F57B109A-CCB0-50EF-C065-37DC9CEBA45E}"/>
              </a:ext>
            </a:extLst>
          </p:cNvPr>
          <p:cNvSpPr/>
          <p:nvPr/>
        </p:nvSpPr>
        <p:spPr>
          <a:xfrm>
            <a:off x="4576911" y="3199363"/>
            <a:ext cx="29311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113E2CAB-FB40-04CF-DB03-28C985135690}"/>
              </a:ext>
            </a:extLst>
          </p:cNvPr>
          <p:cNvSpPr/>
          <p:nvPr/>
        </p:nvSpPr>
        <p:spPr>
          <a:xfrm>
            <a:off x="4576911" y="285549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3B078322-6CDB-E4EF-9202-40653CE09922}"/>
              </a:ext>
            </a:extLst>
          </p:cNvPr>
          <p:cNvSpPr/>
          <p:nvPr/>
        </p:nvSpPr>
        <p:spPr>
          <a:xfrm>
            <a:off x="4576911" y="3887092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9952AE9D-E996-E5CF-4C3B-44B6260C49A9}"/>
              </a:ext>
            </a:extLst>
          </p:cNvPr>
          <p:cNvSpPr/>
          <p:nvPr/>
        </p:nvSpPr>
        <p:spPr>
          <a:xfrm>
            <a:off x="4576911" y="3543228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A43AC172-4264-8C83-C093-857722EE4BCC}"/>
              </a:ext>
            </a:extLst>
          </p:cNvPr>
          <p:cNvSpPr/>
          <p:nvPr/>
        </p:nvSpPr>
        <p:spPr>
          <a:xfrm rot="5400000">
            <a:off x="4282497" y="833581"/>
            <a:ext cx="881944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 B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D9CEE82B-248C-3AEC-A6F0-EC3164DB83E9}"/>
              </a:ext>
            </a:extLst>
          </p:cNvPr>
          <p:cNvSpPr/>
          <p:nvPr/>
        </p:nvSpPr>
        <p:spPr>
          <a:xfrm>
            <a:off x="4919655" y="182390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6C3252A8-1FB0-E174-D8D3-F1C1FA4884BD}"/>
              </a:ext>
            </a:extLst>
          </p:cNvPr>
          <p:cNvSpPr/>
          <p:nvPr/>
        </p:nvSpPr>
        <p:spPr>
          <a:xfrm>
            <a:off x="4919655" y="1491894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7F125BFC-2C84-828B-E177-054E267EE8E8}"/>
              </a:ext>
            </a:extLst>
          </p:cNvPr>
          <p:cNvSpPr/>
          <p:nvPr/>
        </p:nvSpPr>
        <p:spPr>
          <a:xfrm>
            <a:off x="4919655" y="2511633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E9E75599-620E-6DC9-D101-9E42A8FDFEF7}"/>
              </a:ext>
            </a:extLst>
          </p:cNvPr>
          <p:cNvSpPr/>
          <p:nvPr/>
        </p:nvSpPr>
        <p:spPr>
          <a:xfrm>
            <a:off x="4919655" y="2167768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6958904F-0DD0-583F-EA67-3E225A1AD3FE}"/>
              </a:ext>
            </a:extLst>
          </p:cNvPr>
          <p:cNvSpPr/>
          <p:nvPr/>
        </p:nvSpPr>
        <p:spPr>
          <a:xfrm>
            <a:off x="4919655" y="3199363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551F9074-713C-97A9-2774-E4DEECEF228E}"/>
              </a:ext>
            </a:extLst>
          </p:cNvPr>
          <p:cNvSpPr/>
          <p:nvPr/>
        </p:nvSpPr>
        <p:spPr>
          <a:xfrm>
            <a:off x="4919655" y="2855498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AB359A3A-581A-06D0-3EE0-D3AE9E470707}"/>
              </a:ext>
            </a:extLst>
          </p:cNvPr>
          <p:cNvSpPr/>
          <p:nvPr/>
        </p:nvSpPr>
        <p:spPr>
          <a:xfrm>
            <a:off x="4919655" y="3887092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D29AFB1B-A8DD-0CEC-8C40-FA6550024AA5}"/>
              </a:ext>
            </a:extLst>
          </p:cNvPr>
          <p:cNvSpPr/>
          <p:nvPr/>
        </p:nvSpPr>
        <p:spPr>
          <a:xfrm>
            <a:off x="4919655" y="3543228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2761C1D1-C1CF-442A-82D8-0CEDE140981D}"/>
              </a:ext>
            </a:extLst>
          </p:cNvPr>
          <p:cNvSpPr/>
          <p:nvPr/>
        </p:nvSpPr>
        <p:spPr>
          <a:xfrm rot="5400000">
            <a:off x="4625243" y="833581"/>
            <a:ext cx="881944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 C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81B3CA86-3BC7-0F54-631A-CD65751DD9EA}"/>
              </a:ext>
            </a:extLst>
          </p:cNvPr>
          <p:cNvSpPr/>
          <p:nvPr/>
        </p:nvSpPr>
        <p:spPr>
          <a:xfrm rot="5400000">
            <a:off x="4972970" y="833580"/>
            <a:ext cx="881943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Pox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E51C20AC-E6F6-DB0E-B90F-FEDAFB043C3C}"/>
              </a:ext>
            </a:extLst>
          </p:cNvPr>
          <p:cNvSpPr/>
          <p:nvPr/>
        </p:nvSpPr>
        <p:spPr>
          <a:xfrm>
            <a:off x="5267385" y="1823901"/>
            <a:ext cx="293114" cy="293999"/>
          </a:xfrm>
          <a:prstGeom prst="rect">
            <a:avLst/>
          </a:prstGeom>
          <a:solidFill>
            <a:srgbClr val="B5CF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D160685B-0D08-0365-FA3A-24722B0E0648}"/>
              </a:ext>
            </a:extLst>
          </p:cNvPr>
          <p:cNvSpPr/>
          <p:nvPr/>
        </p:nvSpPr>
        <p:spPr>
          <a:xfrm>
            <a:off x="5262400" y="1487604"/>
            <a:ext cx="293114" cy="302824"/>
          </a:xfrm>
          <a:prstGeom prst="rect">
            <a:avLst/>
          </a:prstGeom>
          <a:solidFill>
            <a:srgbClr val="AFC88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4C4251E8-F112-A7E2-1405-2D3C2B026569}"/>
              </a:ext>
            </a:extLst>
          </p:cNvPr>
          <p:cNvSpPr/>
          <p:nvPr/>
        </p:nvSpPr>
        <p:spPr>
          <a:xfrm>
            <a:off x="5267385" y="2511631"/>
            <a:ext cx="293114" cy="293999"/>
          </a:xfrm>
          <a:prstGeom prst="rect">
            <a:avLst/>
          </a:prstGeom>
          <a:solidFill>
            <a:srgbClr val="B5CF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2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813E7312-398C-E7A6-1DEB-DF65C67EA9F0}"/>
              </a:ext>
            </a:extLst>
          </p:cNvPr>
          <p:cNvSpPr/>
          <p:nvPr/>
        </p:nvSpPr>
        <p:spPr>
          <a:xfrm>
            <a:off x="5267385" y="2167766"/>
            <a:ext cx="293114" cy="293999"/>
          </a:xfrm>
          <a:prstGeom prst="rect">
            <a:avLst/>
          </a:prstGeom>
          <a:solidFill>
            <a:srgbClr val="B5CD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18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7F1244DF-EE93-68F9-DF5E-AD78D23FF4B2}"/>
              </a:ext>
            </a:extLst>
          </p:cNvPr>
          <p:cNvSpPr/>
          <p:nvPr/>
        </p:nvSpPr>
        <p:spPr>
          <a:xfrm>
            <a:off x="5267385" y="3199360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7A0FE390-E655-DE33-6A5C-746F01816192}"/>
              </a:ext>
            </a:extLst>
          </p:cNvPr>
          <p:cNvSpPr/>
          <p:nvPr/>
        </p:nvSpPr>
        <p:spPr>
          <a:xfrm>
            <a:off x="5267385" y="2855495"/>
            <a:ext cx="29311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9FF84117-9C6A-DEB6-6AF1-ED9C610B362E}"/>
              </a:ext>
            </a:extLst>
          </p:cNvPr>
          <p:cNvSpPr/>
          <p:nvPr/>
        </p:nvSpPr>
        <p:spPr>
          <a:xfrm>
            <a:off x="5267385" y="3887090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6802DDFE-B91E-D402-BFE5-34AD76673327}"/>
              </a:ext>
            </a:extLst>
          </p:cNvPr>
          <p:cNvSpPr/>
          <p:nvPr/>
        </p:nvSpPr>
        <p:spPr>
          <a:xfrm>
            <a:off x="5267385" y="3543225"/>
            <a:ext cx="293114" cy="293999"/>
          </a:xfrm>
          <a:prstGeom prst="rect">
            <a:avLst/>
          </a:prstGeom>
          <a:solidFill>
            <a:srgbClr val="B5CE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2869F86-0ACA-DFD6-1C07-90D49E598830}"/>
              </a:ext>
            </a:extLst>
          </p:cNvPr>
          <p:cNvSpPr/>
          <p:nvPr/>
        </p:nvSpPr>
        <p:spPr>
          <a:xfrm>
            <a:off x="1163875" y="1831941"/>
            <a:ext cx="278711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AA7FAF7D-0941-18BA-1319-7B38CFA2F70D}"/>
              </a:ext>
            </a:extLst>
          </p:cNvPr>
          <p:cNvSpPr/>
          <p:nvPr/>
        </p:nvSpPr>
        <p:spPr>
          <a:xfrm>
            <a:off x="1163873" y="1489567"/>
            <a:ext cx="278713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C1A1CFB-A43D-2391-72C3-1FF61BDD73B0}"/>
              </a:ext>
            </a:extLst>
          </p:cNvPr>
          <p:cNvSpPr/>
          <p:nvPr/>
        </p:nvSpPr>
        <p:spPr>
          <a:xfrm>
            <a:off x="1163873" y="2516687"/>
            <a:ext cx="278713" cy="293999"/>
          </a:xfrm>
          <a:prstGeom prst="rect">
            <a:avLst/>
          </a:prstGeom>
          <a:solidFill>
            <a:srgbClr val="00B050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005569AC-C274-D663-A65A-80CA570FA222}"/>
              </a:ext>
            </a:extLst>
          </p:cNvPr>
          <p:cNvSpPr/>
          <p:nvPr/>
        </p:nvSpPr>
        <p:spPr>
          <a:xfrm>
            <a:off x="1163875" y="2174313"/>
            <a:ext cx="278711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F1460343-9677-1776-F880-C8B441C299DA}"/>
              </a:ext>
            </a:extLst>
          </p:cNvPr>
          <p:cNvSpPr/>
          <p:nvPr/>
        </p:nvSpPr>
        <p:spPr>
          <a:xfrm>
            <a:off x="1163873" y="3201433"/>
            <a:ext cx="278713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E6255FAA-C50C-B19D-B8B7-C39E4071B197}"/>
              </a:ext>
            </a:extLst>
          </p:cNvPr>
          <p:cNvSpPr/>
          <p:nvPr/>
        </p:nvSpPr>
        <p:spPr>
          <a:xfrm>
            <a:off x="1163875" y="2859061"/>
            <a:ext cx="278711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3CCB2C62-A65F-E262-A5C2-7B945770829B}"/>
              </a:ext>
            </a:extLst>
          </p:cNvPr>
          <p:cNvSpPr/>
          <p:nvPr/>
        </p:nvSpPr>
        <p:spPr>
          <a:xfrm>
            <a:off x="1163875" y="3886181"/>
            <a:ext cx="278711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48506D6D-0D6A-7E5D-238C-C24F2D68580A}"/>
              </a:ext>
            </a:extLst>
          </p:cNvPr>
          <p:cNvSpPr/>
          <p:nvPr/>
        </p:nvSpPr>
        <p:spPr>
          <a:xfrm>
            <a:off x="1163875" y="3543807"/>
            <a:ext cx="278711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endParaRPr lang="en-AU" sz="1200" b="1" baseline="300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2A602852-28AC-3989-059C-A883FD45442F}"/>
              </a:ext>
            </a:extLst>
          </p:cNvPr>
          <p:cNvSpPr/>
          <p:nvPr/>
        </p:nvSpPr>
        <p:spPr>
          <a:xfrm rot="5400000">
            <a:off x="862256" y="840783"/>
            <a:ext cx="881947" cy="278713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TP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7294B065-3F29-A091-2BBD-4D2347D9D12C}"/>
              </a:ext>
            </a:extLst>
          </p:cNvPr>
          <p:cNvSpPr/>
          <p:nvPr/>
        </p:nvSpPr>
        <p:spPr>
          <a:xfrm>
            <a:off x="5613409" y="1826244"/>
            <a:ext cx="289830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 / 70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D5A17910-C212-D2AF-9D04-E67DC8D74295}"/>
              </a:ext>
            </a:extLst>
          </p:cNvPr>
          <p:cNvSpPr/>
          <p:nvPr/>
        </p:nvSpPr>
        <p:spPr>
          <a:xfrm>
            <a:off x="5613409" y="1482379"/>
            <a:ext cx="289830" cy="302756"/>
          </a:xfrm>
          <a:prstGeom prst="rect">
            <a:avLst/>
          </a:prstGeom>
          <a:solidFill>
            <a:srgbClr val="00B1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 / 70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693749F0-0045-3ADB-0B19-91D99B0D67A0}"/>
              </a:ext>
            </a:extLst>
          </p:cNvPr>
          <p:cNvSpPr/>
          <p:nvPr/>
        </p:nvSpPr>
        <p:spPr>
          <a:xfrm>
            <a:off x="5613409" y="2513974"/>
            <a:ext cx="289830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E870B7F4-FDDC-540C-80CD-CD86DF980175}"/>
              </a:ext>
            </a:extLst>
          </p:cNvPr>
          <p:cNvSpPr/>
          <p:nvPr/>
        </p:nvSpPr>
        <p:spPr>
          <a:xfrm>
            <a:off x="5613409" y="2170109"/>
            <a:ext cx="289830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92CCC64A-F804-F4B4-90FF-460E4B6387DB}"/>
              </a:ext>
            </a:extLst>
          </p:cNvPr>
          <p:cNvSpPr/>
          <p:nvPr/>
        </p:nvSpPr>
        <p:spPr>
          <a:xfrm>
            <a:off x="5613409" y="3201704"/>
            <a:ext cx="289830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064DEA56-F952-84B3-CBF7-C8685A27EEF5}"/>
              </a:ext>
            </a:extLst>
          </p:cNvPr>
          <p:cNvSpPr/>
          <p:nvPr/>
        </p:nvSpPr>
        <p:spPr>
          <a:xfrm>
            <a:off x="5613409" y="2857839"/>
            <a:ext cx="289830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8601196C-7F69-5C0E-D801-1016BC55CAA9}"/>
              </a:ext>
            </a:extLst>
          </p:cNvPr>
          <p:cNvSpPr/>
          <p:nvPr/>
        </p:nvSpPr>
        <p:spPr>
          <a:xfrm>
            <a:off x="5613409" y="3889433"/>
            <a:ext cx="289830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E176B9EA-92E3-B145-AA31-6B2DA5475435}"/>
              </a:ext>
            </a:extLst>
          </p:cNvPr>
          <p:cNvSpPr/>
          <p:nvPr/>
        </p:nvSpPr>
        <p:spPr>
          <a:xfrm>
            <a:off x="5613409" y="3545569"/>
            <a:ext cx="289830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endParaRPr lang="en-AU" sz="1200" b="1" baseline="300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13FCED8-29E5-3755-5BB7-CAE477EE9ED6}"/>
              </a:ext>
            </a:extLst>
          </p:cNvPr>
          <p:cNvSpPr/>
          <p:nvPr/>
        </p:nvSpPr>
        <p:spPr>
          <a:xfrm rot="5400000">
            <a:off x="5313446" y="835847"/>
            <a:ext cx="883191" cy="289830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neumo-</a:t>
            </a:r>
          </a:p>
          <a:p>
            <a:pPr defTabSz="914198">
              <a:defRPr/>
            </a:pPr>
            <a:r>
              <a:rPr lang="en-US" sz="1000" b="1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ccal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56ED300-1ED4-E758-0D50-1BA1D098CD0B}"/>
              </a:ext>
            </a:extLst>
          </p:cNvPr>
          <p:cNvSpPr/>
          <p:nvPr/>
        </p:nvSpPr>
        <p:spPr>
          <a:xfrm>
            <a:off x="821128" y="1832399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3EC8CCD-9A10-7B78-BA78-EF3CB6B62E19}"/>
              </a:ext>
            </a:extLst>
          </p:cNvPr>
          <p:cNvSpPr/>
          <p:nvPr/>
        </p:nvSpPr>
        <p:spPr>
          <a:xfrm>
            <a:off x="821128" y="148979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1B36AE2-9D72-9DA1-5C88-854D8FF77FC6}"/>
              </a:ext>
            </a:extLst>
          </p:cNvPr>
          <p:cNvSpPr/>
          <p:nvPr/>
        </p:nvSpPr>
        <p:spPr>
          <a:xfrm>
            <a:off x="821128" y="251760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42E930F-2FB4-6E38-18DA-CC561AB0DDEE}"/>
              </a:ext>
            </a:extLst>
          </p:cNvPr>
          <p:cNvSpPr/>
          <p:nvPr/>
        </p:nvSpPr>
        <p:spPr>
          <a:xfrm>
            <a:off x="821128" y="2175002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5092A4D-C67B-6ABE-03D2-40A9312CDE51}"/>
              </a:ext>
            </a:extLst>
          </p:cNvPr>
          <p:cNvSpPr/>
          <p:nvPr/>
        </p:nvSpPr>
        <p:spPr>
          <a:xfrm>
            <a:off x="821128" y="3202807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FF36D8F-9312-E02D-BBDC-D8E21F686F3E}"/>
              </a:ext>
            </a:extLst>
          </p:cNvPr>
          <p:cNvSpPr/>
          <p:nvPr/>
        </p:nvSpPr>
        <p:spPr>
          <a:xfrm>
            <a:off x="821128" y="2860204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2DD6445-5572-52B5-873A-5E6C38AC92CC}"/>
              </a:ext>
            </a:extLst>
          </p:cNvPr>
          <p:cNvSpPr/>
          <p:nvPr/>
        </p:nvSpPr>
        <p:spPr>
          <a:xfrm>
            <a:off x="821128" y="388800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8943FB0-9E90-AE3D-40F9-F614D12E7D29}"/>
              </a:ext>
            </a:extLst>
          </p:cNvPr>
          <p:cNvSpPr/>
          <p:nvPr/>
        </p:nvSpPr>
        <p:spPr>
          <a:xfrm>
            <a:off x="821128" y="3545407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endParaRPr lang="en-US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914198">
              <a:defRPr/>
            </a:pP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7677DB5-9CF8-12F5-E628-3BCBB0B4942F}"/>
              </a:ext>
            </a:extLst>
          </p:cNvPr>
          <p:cNvSpPr/>
          <p:nvPr/>
        </p:nvSpPr>
        <p:spPr>
          <a:xfrm rot="5400000">
            <a:off x="526092" y="834204"/>
            <a:ext cx="883188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DDEEFCF8-18CE-F207-41D9-34EEEEAB9B48}"/>
              </a:ext>
            </a:extLst>
          </p:cNvPr>
          <p:cNvSpPr/>
          <p:nvPr/>
        </p:nvSpPr>
        <p:spPr>
          <a:xfrm rot="5400000">
            <a:off x="183347" y="834202"/>
            <a:ext cx="883188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lera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57AC44FF-536D-25E3-7EC6-8C6670A71CB1}"/>
              </a:ext>
            </a:extLst>
          </p:cNvPr>
          <p:cNvSpPr/>
          <p:nvPr/>
        </p:nvSpPr>
        <p:spPr>
          <a:xfrm>
            <a:off x="478385" y="1832397"/>
            <a:ext cx="290853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43A697D9-0428-5FD4-367A-D87E25C0ECCB}"/>
              </a:ext>
            </a:extLst>
          </p:cNvPr>
          <p:cNvSpPr/>
          <p:nvPr/>
        </p:nvSpPr>
        <p:spPr>
          <a:xfrm>
            <a:off x="478385" y="1489796"/>
            <a:ext cx="290853" cy="29399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noFill/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2842CEE5-F183-E4B1-2D52-1DCBF0BA059B}"/>
              </a:ext>
            </a:extLst>
          </p:cNvPr>
          <p:cNvSpPr/>
          <p:nvPr/>
        </p:nvSpPr>
        <p:spPr>
          <a:xfrm>
            <a:off x="478384" y="2517601"/>
            <a:ext cx="289829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CE62196-D644-3607-C319-5421A004BDFA}"/>
              </a:ext>
            </a:extLst>
          </p:cNvPr>
          <p:cNvSpPr/>
          <p:nvPr/>
        </p:nvSpPr>
        <p:spPr>
          <a:xfrm>
            <a:off x="478384" y="2175000"/>
            <a:ext cx="289829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2C627452-B51C-7B93-121E-DA82226274B9}"/>
              </a:ext>
            </a:extLst>
          </p:cNvPr>
          <p:cNvSpPr/>
          <p:nvPr/>
        </p:nvSpPr>
        <p:spPr>
          <a:xfrm>
            <a:off x="478385" y="3202805"/>
            <a:ext cx="290853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C5548518-518D-3842-19EC-BE08440B03DC}"/>
              </a:ext>
            </a:extLst>
          </p:cNvPr>
          <p:cNvSpPr/>
          <p:nvPr/>
        </p:nvSpPr>
        <p:spPr>
          <a:xfrm>
            <a:off x="478384" y="2860202"/>
            <a:ext cx="289829" cy="293999"/>
          </a:xfrm>
          <a:prstGeom prst="rect">
            <a:avLst/>
          </a:prstGeom>
          <a:solidFill>
            <a:srgbClr val="A6A6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DD05109D-4D2D-C3A5-C09E-7E9EE88C2CCB}"/>
              </a:ext>
            </a:extLst>
          </p:cNvPr>
          <p:cNvSpPr/>
          <p:nvPr/>
        </p:nvSpPr>
        <p:spPr>
          <a:xfrm>
            <a:off x="478384" y="3888006"/>
            <a:ext cx="289829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E274271A-7758-B6AA-3F51-83CAFD9B6996}"/>
              </a:ext>
            </a:extLst>
          </p:cNvPr>
          <p:cNvSpPr/>
          <p:nvPr/>
        </p:nvSpPr>
        <p:spPr>
          <a:xfrm>
            <a:off x="478385" y="3545406"/>
            <a:ext cx="290853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C724BD04-B59B-8C33-0FFC-FADDA4A512AF}"/>
              </a:ext>
            </a:extLst>
          </p:cNvPr>
          <p:cNvSpPr/>
          <p:nvPr/>
        </p:nvSpPr>
        <p:spPr>
          <a:xfrm rot="5400000">
            <a:off x="5658455" y="833580"/>
            <a:ext cx="881943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o</a:t>
            </a: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CFD59649-0F76-32D2-AA38-D4E379AB58B0}"/>
              </a:ext>
            </a:extLst>
          </p:cNvPr>
          <p:cNvSpPr/>
          <p:nvPr/>
        </p:nvSpPr>
        <p:spPr>
          <a:xfrm>
            <a:off x="5952868" y="1824820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7871CDB9-69CB-739D-D536-75CDB89FBC50}"/>
              </a:ext>
            </a:extLst>
          </p:cNvPr>
          <p:cNvSpPr/>
          <p:nvPr/>
        </p:nvSpPr>
        <p:spPr>
          <a:xfrm>
            <a:off x="5952868" y="1486786"/>
            <a:ext cx="293114" cy="300025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0CA6E92A-B065-7C83-FCF1-49079306E891}"/>
              </a:ext>
            </a:extLst>
          </p:cNvPr>
          <p:cNvSpPr/>
          <p:nvPr/>
        </p:nvSpPr>
        <p:spPr>
          <a:xfrm>
            <a:off x="5952868" y="2512550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CB268064-39F0-A679-64DD-3527A586E585}"/>
              </a:ext>
            </a:extLst>
          </p:cNvPr>
          <p:cNvSpPr/>
          <p:nvPr/>
        </p:nvSpPr>
        <p:spPr>
          <a:xfrm>
            <a:off x="5952868" y="2168685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3E4C77DE-8ADC-F7CE-0247-E7C3C325633E}"/>
              </a:ext>
            </a:extLst>
          </p:cNvPr>
          <p:cNvSpPr/>
          <p:nvPr/>
        </p:nvSpPr>
        <p:spPr>
          <a:xfrm>
            <a:off x="5952868" y="3200279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F78CFF02-3253-DE14-FD30-1B3464107352}"/>
              </a:ext>
            </a:extLst>
          </p:cNvPr>
          <p:cNvSpPr/>
          <p:nvPr/>
        </p:nvSpPr>
        <p:spPr>
          <a:xfrm>
            <a:off x="5952868" y="2856415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E17912CF-D7B2-6015-4E16-CCAD0622DD84}"/>
              </a:ext>
            </a:extLst>
          </p:cNvPr>
          <p:cNvSpPr/>
          <p:nvPr/>
        </p:nvSpPr>
        <p:spPr>
          <a:xfrm>
            <a:off x="5952868" y="3888009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F82D3593-2E23-8322-E6C2-306BCA5DDFF2}"/>
              </a:ext>
            </a:extLst>
          </p:cNvPr>
          <p:cNvSpPr/>
          <p:nvPr/>
        </p:nvSpPr>
        <p:spPr>
          <a:xfrm>
            <a:off x="5952868" y="3544144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</a:t>
            </a:r>
            <a:endParaRPr lang="en-AU" sz="1200" b="1" baseline="300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025BF22-49D8-651E-B85B-51FD4FCEAEAF}"/>
              </a:ext>
            </a:extLst>
          </p:cNvPr>
          <p:cNvSpPr/>
          <p:nvPr/>
        </p:nvSpPr>
        <p:spPr>
          <a:xfrm rot="5400000">
            <a:off x="7043836" y="833582"/>
            <a:ext cx="881945" cy="293115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SV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1204AD8-51F9-5CD4-CEF9-BD202E4D7547}"/>
              </a:ext>
            </a:extLst>
          </p:cNvPr>
          <p:cNvSpPr/>
          <p:nvPr/>
        </p:nvSpPr>
        <p:spPr>
          <a:xfrm>
            <a:off x="7341414" y="1825286"/>
            <a:ext cx="293112" cy="292881"/>
          </a:xfrm>
          <a:prstGeom prst="rect">
            <a:avLst/>
          </a:prstGeom>
          <a:solidFill>
            <a:srgbClr val="00B1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 / </a:t>
            </a:r>
            <a:b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^</a:t>
            </a:r>
            <a:endParaRPr lang="en-AU" sz="10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EAE20B9-85D9-09EB-78D9-324989BC08D5}"/>
              </a:ext>
            </a:extLst>
          </p:cNvPr>
          <p:cNvSpPr/>
          <p:nvPr/>
        </p:nvSpPr>
        <p:spPr>
          <a:xfrm>
            <a:off x="7341414" y="1485388"/>
            <a:ext cx="293112" cy="300025"/>
          </a:xfrm>
          <a:prstGeom prst="rect">
            <a:avLst/>
          </a:prstGeom>
          <a:solidFill>
            <a:srgbClr val="00B15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 /</a:t>
            </a: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</a:t>
            </a: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^</a:t>
            </a: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7DC8588-0202-2181-6DDD-58ABFE224858}"/>
              </a:ext>
            </a:extLst>
          </p:cNvPr>
          <p:cNvSpPr/>
          <p:nvPr/>
        </p:nvSpPr>
        <p:spPr>
          <a:xfrm>
            <a:off x="7341414" y="2510402"/>
            <a:ext cx="293112" cy="292881"/>
          </a:xfrm>
          <a:prstGeom prst="rect">
            <a:avLst/>
          </a:prstGeom>
          <a:solidFill>
            <a:srgbClr val="00B1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/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D282DE2-FDA7-AB6D-B70C-D19FB873B71A}"/>
              </a:ext>
            </a:extLst>
          </p:cNvPr>
          <p:cNvSpPr/>
          <p:nvPr/>
        </p:nvSpPr>
        <p:spPr>
          <a:xfrm>
            <a:off x="7341414" y="2174645"/>
            <a:ext cx="293112" cy="292881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D69B184-1AD8-BE78-A832-F87B61E17057}"/>
              </a:ext>
            </a:extLst>
          </p:cNvPr>
          <p:cNvSpPr/>
          <p:nvPr/>
        </p:nvSpPr>
        <p:spPr>
          <a:xfrm>
            <a:off x="7341414" y="3195518"/>
            <a:ext cx="293112" cy="292881"/>
          </a:xfrm>
          <a:prstGeom prst="rect">
            <a:avLst/>
          </a:prstGeom>
          <a:solidFill>
            <a:srgbClr val="00B1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31C2905-C8BE-B60A-A7FB-D08AC4E48BF1}"/>
              </a:ext>
            </a:extLst>
          </p:cNvPr>
          <p:cNvSpPr/>
          <p:nvPr/>
        </p:nvSpPr>
        <p:spPr>
          <a:xfrm>
            <a:off x="7341414" y="2852960"/>
            <a:ext cx="293112" cy="292881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1F44365-720E-3974-42D0-0B8D7886CC0E}"/>
              </a:ext>
            </a:extLst>
          </p:cNvPr>
          <p:cNvSpPr/>
          <p:nvPr/>
        </p:nvSpPr>
        <p:spPr>
          <a:xfrm>
            <a:off x="7341414" y="3886184"/>
            <a:ext cx="293112" cy="292881"/>
          </a:xfrm>
          <a:prstGeom prst="rect">
            <a:avLst/>
          </a:prstGeom>
          <a:solidFill>
            <a:srgbClr val="00B1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110CC9F2-B5D6-4C88-344C-EF66F00E9DC9}"/>
              </a:ext>
            </a:extLst>
          </p:cNvPr>
          <p:cNvSpPr/>
          <p:nvPr/>
        </p:nvSpPr>
        <p:spPr>
          <a:xfrm>
            <a:off x="7341414" y="3538076"/>
            <a:ext cx="293112" cy="292881"/>
          </a:xfrm>
          <a:prstGeom prst="rect">
            <a:avLst/>
          </a:prstGeom>
          <a:solidFill>
            <a:srgbClr val="00B1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64FB34-9274-CCDE-CD85-2BF101F3AB46}"/>
              </a:ext>
            </a:extLst>
          </p:cNvPr>
          <p:cNvSpPr/>
          <p:nvPr/>
        </p:nvSpPr>
        <p:spPr>
          <a:xfrm rot="5400000">
            <a:off x="8100145" y="825024"/>
            <a:ext cx="864823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cell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5168540-C1E9-AC03-46A3-03ECA23ACF2F}"/>
              </a:ext>
            </a:extLst>
          </p:cNvPr>
          <p:cNvSpPr/>
          <p:nvPr/>
        </p:nvSpPr>
        <p:spPr>
          <a:xfrm>
            <a:off x="8390164" y="1819804"/>
            <a:ext cx="293114" cy="288023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38A9731-E51F-E831-828D-8C81F149C9E8}"/>
              </a:ext>
            </a:extLst>
          </p:cNvPr>
          <p:cNvSpPr/>
          <p:nvPr/>
        </p:nvSpPr>
        <p:spPr>
          <a:xfrm>
            <a:off x="8390164" y="1484108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FB2F5C-51C2-30F0-42C4-FEAF41668D22}"/>
              </a:ext>
            </a:extLst>
          </p:cNvPr>
          <p:cNvSpPr/>
          <p:nvPr/>
        </p:nvSpPr>
        <p:spPr>
          <a:xfrm>
            <a:off x="8395585" y="2521668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23E406-EE35-6B08-9128-1AE35DF583ED}"/>
              </a:ext>
            </a:extLst>
          </p:cNvPr>
          <p:cNvSpPr/>
          <p:nvPr/>
        </p:nvSpPr>
        <p:spPr>
          <a:xfrm>
            <a:off x="8390164" y="2157694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5BDC6B9-0BE6-2684-8838-B9AF5CA6DCC7}"/>
              </a:ext>
            </a:extLst>
          </p:cNvPr>
          <p:cNvSpPr/>
          <p:nvPr/>
        </p:nvSpPr>
        <p:spPr>
          <a:xfrm>
            <a:off x="8390164" y="318928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B257AB-2F24-85BF-818A-35EA236C706E}"/>
              </a:ext>
            </a:extLst>
          </p:cNvPr>
          <p:cNvSpPr/>
          <p:nvPr/>
        </p:nvSpPr>
        <p:spPr>
          <a:xfrm>
            <a:off x="8390164" y="2845423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52999BB-C6CE-70D5-0499-C6B9C61B062A}"/>
              </a:ext>
            </a:extLst>
          </p:cNvPr>
          <p:cNvSpPr/>
          <p:nvPr/>
        </p:nvSpPr>
        <p:spPr>
          <a:xfrm>
            <a:off x="8391409" y="3885068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56839FB-E70B-7BAC-68D2-AF9A89692713}"/>
              </a:ext>
            </a:extLst>
          </p:cNvPr>
          <p:cNvSpPr/>
          <p:nvPr/>
        </p:nvSpPr>
        <p:spPr>
          <a:xfrm rot="5400000">
            <a:off x="7751313" y="831109"/>
            <a:ext cx="876995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hoi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41B4E89-E0BD-C0DA-45AB-CED0EF6EC68E}"/>
              </a:ext>
            </a:extLst>
          </p:cNvPr>
          <p:cNvSpPr/>
          <p:nvPr/>
        </p:nvSpPr>
        <p:spPr>
          <a:xfrm>
            <a:off x="8043253" y="1835801"/>
            <a:ext cx="293114" cy="28802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C235723-BCD3-8C2E-440E-E12AE4BE9AFD}"/>
              </a:ext>
            </a:extLst>
          </p:cNvPr>
          <p:cNvSpPr/>
          <p:nvPr/>
        </p:nvSpPr>
        <p:spPr>
          <a:xfrm>
            <a:off x="8043253" y="1484547"/>
            <a:ext cx="29311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FFCDDF-346D-0E45-D6AC-B5007746D006}"/>
              </a:ext>
            </a:extLst>
          </p:cNvPr>
          <p:cNvSpPr/>
          <p:nvPr/>
        </p:nvSpPr>
        <p:spPr>
          <a:xfrm>
            <a:off x="8043253" y="2516134"/>
            <a:ext cx="29311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280CA6B-676B-71E9-548B-D21EEC524BD6}"/>
              </a:ext>
            </a:extLst>
          </p:cNvPr>
          <p:cNvSpPr/>
          <p:nvPr/>
        </p:nvSpPr>
        <p:spPr>
          <a:xfrm>
            <a:off x="8043253" y="2158132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78277CA-5771-090F-2329-0074BE0A8FA7}"/>
              </a:ext>
            </a:extLst>
          </p:cNvPr>
          <p:cNvSpPr/>
          <p:nvPr/>
        </p:nvSpPr>
        <p:spPr>
          <a:xfrm>
            <a:off x="8043253" y="3189727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E095C54-DDD6-8456-B077-E26F31FB9279}"/>
              </a:ext>
            </a:extLst>
          </p:cNvPr>
          <p:cNvSpPr/>
          <p:nvPr/>
        </p:nvSpPr>
        <p:spPr>
          <a:xfrm>
            <a:off x="8043253" y="2845862"/>
            <a:ext cx="293114" cy="293999"/>
          </a:xfrm>
          <a:prstGeom prst="rect">
            <a:avLst/>
          </a:prstGeom>
          <a:solidFill>
            <a:srgbClr val="A6A6A6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754002F-4F99-B8E4-0E82-E855837B7B6B}"/>
              </a:ext>
            </a:extLst>
          </p:cNvPr>
          <p:cNvSpPr/>
          <p:nvPr/>
        </p:nvSpPr>
        <p:spPr>
          <a:xfrm>
            <a:off x="8043253" y="3547736"/>
            <a:ext cx="29311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AU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0E3E5ACD-4A76-CF0D-7F83-C03A82CED17C}"/>
              </a:ext>
            </a:extLst>
          </p:cNvPr>
          <p:cNvSpPr/>
          <p:nvPr/>
        </p:nvSpPr>
        <p:spPr>
          <a:xfrm>
            <a:off x="8387604" y="3542468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0E546EB-ADFF-883D-5410-D32DCB8E77D2}"/>
              </a:ext>
            </a:extLst>
          </p:cNvPr>
          <p:cNvSpPr/>
          <p:nvPr/>
        </p:nvSpPr>
        <p:spPr>
          <a:xfrm>
            <a:off x="8048667" y="3885068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5B4CA3A4-3DA6-EED1-0898-4C23BA1AFF8E}"/>
              </a:ext>
            </a:extLst>
          </p:cNvPr>
          <p:cNvSpPr/>
          <p:nvPr/>
        </p:nvSpPr>
        <p:spPr>
          <a:xfrm>
            <a:off x="6993353" y="1828358"/>
            <a:ext cx="29085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8C446047-4A48-6536-AC49-DC39E0AA5ABE}"/>
              </a:ext>
            </a:extLst>
          </p:cNvPr>
          <p:cNvSpPr/>
          <p:nvPr/>
        </p:nvSpPr>
        <p:spPr>
          <a:xfrm>
            <a:off x="6993353" y="1485757"/>
            <a:ext cx="29085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noFill/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98C52A7A-D47B-72A0-9158-EE7F89800AAA}"/>
              </a:ext>
            </a:extLst>
          </p:cNvPr>
          <p:cNvSpPr/>
          <p:nvPr/>
        </p:nvSpPr>
        <p:spPr>
          <a:xfrm>
            <a:off x="6993353" y="2513562"/>
            <a:ext cx="289829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CC0DC1D2-767E-CDA1-1399-636D5724007B}"/>
              </a:ext>
            </a:extLst>
          </p:cNvPr>
          <p:cNvSpPr/>
          <p:nvPr/>
        </p:nvSpPr>
        <p:spPr>
          <a:xfrm>
            <a:off x="6993353" y="2170961"/>
            <a:ext cx="289829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9C902124-75CF-6F03-60D1-9191B55C3C9D}"/>
              </a:ext>
            </a:extLst>
          </p:cNvPr>
          <p:cNvSpPr/>
          <p:nvPr/>
        </p:nvSpPr>
        <p:spPr>
          <a:xfrm>
            <a:off x="6993353" y="3198766"/>
            <a:ext cx="29085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8" name="Rectangle 277">
            <a:extLst>
              <a:ext uri="{FF2B5EF4-FFF2-40B4-BE49-F238E27FC236}">
                <a16:creationId xmlns:a16="http://schemas.microsoft.com/office/drawing/2014/main" id="{C47844F6-B4A6-25A9-8B8B-02AF8A145539}"/>
              </a:ext>
            </a:extLst>
          </p:cNvPr>
          <p:cNvSpPr/>
          <p:nvPr/>
        </p:nvSpPr>
        <p:spPr>
          <a:xfrm>
            <a:off x="6993353" y="3883967"/>
            <a:ext cx="289829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EB2D1EC6-D84D-A506-DA31-F9100503D6B5}"/>
              </a:ext>
            </a:extLst>
          </p:cNvPr>
          <p:cNvSpPr/>
          <p:nvPr/>
        </p:nvSpPr>
        <p:spPr>
          <a:xfrm rot="5400000">
            <a:off x="6698316" y="830164"/>
            <a:ext cx="883190" cy="293115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tavirus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0" name="Rectangle 279">
            <a:extLst>
              <a:ext uri="{FF2B5EF4-FFF2-40B4-BE49-F238E27FC236}">
                <a16:creationId xmlns:a16="http://schemas.microsoft.com/office/drawing/2014/main" id="{026D09D4-0047-E4C3-7957-62CA4C8B6164}"/>
              </a:ext>
            </a:extLst>
          </p:cNvPr>
          <p:cNvSpPr/>
          <p:nvPr/>
        </p:nvSpPr>
        <p:spPr>
          <a:xfrm>
            <a:off x="6993353" y="3541367"/>
            <a:ext cx="29085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519554B6-D0AB-E626-47DE-D417E121896B}"/>
              </a:ext>
            </a:extLst>
          </p:cNvPr>
          <p:cNvSpPr/>
          <p:nvPr/>
        </p:nvSpPr>
        <p:spPr>
          <a:xfrm rot="5400000">
            <a:off x="6002438" y="832480"/>
            <a:ext cx="881945" cy="293115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 fever</a:t>
            </a: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2F8CF991-D19C-FB9B-8876-F8B3A54A1B11}"/>
              </a:ext>
            </a:extLst>
          </p:cNvPr>
          <p:cNvSpPr/>
          <p:nvPr/>
        </p:nvSpPr>
        <p:spPr>
          <a:xfrm>
            <a:off x="6300016" y="1824185"/>
            <a:ext cx="293112" cy="292881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AB32429D-278B-4BA7-F75C-4FBA3C216A46}"/>
              </a:ext>
            </a:extLst>
          </p:cNvPr>
          <p:cNvSpPr/>
          <p:nvPr/>
        </p:nvSpPr>
        <p:spPr>
          <a:xfrm>
            <a:off x="6300016" y="1484286"/>
            <a:ext cx="293112" cy="300025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A92A76CA-EE82-9F80-05A8-3A9666113BED}"/>
              </a:ext>
            </a:extLst>
          </p:cNvPr>
          <p:cNvSpPr/>
          <p:nvPr/>
        </p:nvSpPr>
        <p:spPr>
          <a:xfrm>
            <a:off x="6300016" y="2509301"/>
            <a:ext cx="293112" cy="292881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/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83B2529C-16DE-4A7B-A49C-A6E2BBAB3A82}"/>
              </a:ext>
            </a:extLst>
          </p:cNvPr>
          <p:cNvSpPr/>
          <p:nvPr/>
        </p:nvSpPr>
        <p:spPr>
          <a:xfrm>
            <a:off x="6300016" y="2173543"/>
            <a:ext cx="293112" cy="292881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693C3C47-E3FF-C70D-D3B5-AAC93C96B5C4}"/>
              </a:ext>
            </a:extLst>
          </p:cNvPr>
          <p:cNvSpPr/>
          <p:nvPr/>
        </p:nvSpPr>
        <p:spPr>
          <a:xfrm>
            <a:off x="6300016" y="3194417"/>
            <a:ext cx="293112" cy="292881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88" name="Rectangle 287">
            <a:extLst>
              <a:ext uri="{FF2B5EF4-FFF2-40B4-BE49-F238E27FC236}">
                <a16:creationId xmlns:a16="http://schemas.microsoft.com/office/drawing/2014/main" id="{6818BFC5-F5EC-D714-DE8F-BEADC5D70D5F}"/>
              </a:ext>
            </a:extLst>
          </p:cNvPr>
          <p:cNvSpPr/>
          <p:nvPr/>
        </p:nvSpPr>
        <p:spPr>
          <a:xfrm>
            <a:off x="6300016" y="3885082"/>
            <a:ext cx="293112" cy="292881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9" name="Rectangle 288">
            <a:extLst>
              <a:ext uri="{FF2B5EF4-FFF2-40B4-BE49-F238E27FC236}">
                <a16:creationId xmlns:a16="http://schemas.microsoft.com/office/drawing/2014/main" id="{BB620C3D-93A7-6108-7B0C-5109D15060A3}"/>
              </a:ext>
            </a:extLst>
          </p:cNvPr>
          <p:cNvSpPr/>
          <p:nvPr/>
        </p:nvSpPr>
        <p:spPr>
          <a:xfrm>
            <a:off x="6300016" y="3536974"/>
            <a:ext cx="293112" cy="292881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0" name="Rectangle 289">
            <a:extLst>
              <a:ext uri="{FF2B5EF4-FFF2-40B4-BE49-F238E27FC236}">
                <a16:creationId xmlns:a16="http://schemas.microsoft.com/office/drawing/2014/main" id="{1D8C0646-F096-7542-2A86-3CEC20360001}"/>
              </a:ext>
            </a:extLst>
          </p:cNvPr>
          <p:cNvSpPr/>
          <p:nvPr/>
        </p:nvSpPr>
        <p:spPr>
          <a:xfrm rot="5400000">
            <a:off x="8446393" y="823921"/>
            <a:ext cx="864823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llow fever</a:t>
            </a:r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3E3CB7D6-4321-053E-883C-3178A526C70B}"/>
              </a:ext>
            </a:extLst>
          </p:cNvPr>
          <p:cNvSpPr/>
          <p:nvPr/>
        </p:nvSpPr>
        <p:spPr>
          <a:xfrm>
            <a:off x="8736412" y="1818701"/>
            <a:ext cx="293114" cy="288023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6E818681-5C3B-0076-73E1-37A239EC3E56}"/>
              </a:ext>
            </a:extLst>
          </p:cNvPr>
          <p:cNvSpPr/>
          <p:nvPr/>
        </p:nvSpPr>
        <p:spPr>
          <a:xfrm>
            <a:off x="8736412" y="1483005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93" name="Rectangle 292">
            <a:extLst>
              <a:ext uri="{FF2B5EF4-FFF2-40B4-BE49-F238E27FC236}">
                <a16:creationId xmlns:a16="http://schemas.microsoft.com/office/drawing/2014/main" id="{82716648-E17C-8845-BFDD-EC7FA5994D66}"/>
              </a:ext>
            </a:extLst>
          </p:cNvPr>
          <p:cNvSpPr/>
          <p:nvPr/>
        </p:nvSpPr>
        <p:spPr>
          <a:xfrm>
            <a:off x="8741833" y="2520565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94" name="Rectangle 293">
            <a:extLst>
              <a:ext uri="{FF2B5EF4-FFF2-40B4-BE49-F238E27FC236}">
                <a16:creationId xmlns:a16="http://schemas.microsoft.com/office/drawing/2014/main" id="{72C000E0-62FF-4307-2EEC-D37E8F20F1CA}"/>
              </a:ext>
            </a:extLst>
          </p:cNvPr>
          <p:cNvSpPr/>
          <p:nvPr/>
        </p:nvSpPr>
        <p:spPr>
          <a:xfrm>
            <a:off x="8736412" y="2156591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45255B62-14D8-8C90-C229-ACAAEA87C860}"/>
              </a:ext>
            </a:extLst>
          </p:cNvPr>
          <p:cNvSpPr/>
          <p:nvPr/>
        </p:nvSpPr>
        <p:spPr>
          <a:xfrm>
            <a:off x="8736412" y="3188185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1EDEBB63-5FA7-E0F9-A162-7F155ECC1440}"/>
              </a:ext>
            </a:extLst>
          </p:cNvPr>
          <p:cNvSpPr/>
          <p:nvPr/>
        </p:nvSpPr>
        <p:spPr>
          <a:xfrm>
            <a:off x="8737657" y="3883965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E04DF059-34CF-54F6-D641-711167F7358D}"/>
              </a:ext>
            </a:extLst>
          </p:cNvPr>
          <p:cNvSpPr/>
          <p:nvPr/>
        </p:nvSpPr>
        <p:spPr>
          <a:xfrm rot="5400000">
            <a:off x="7402695" y="830005"/>
            <a:ext cx="876995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</a:t>
            </a: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2785CD66-ACB7-8D7E-6907-2AF42449E760}"/>
              </a:ext>
            </a:extLst>
          </p:cNvPr>
          <p:cNvSpPr/>
          <p:nvPr/>
        </p:nvSpPr>
        <p:spPr>
          <a:xfrm>
            <a:off x="7694635" y="1834697"/>
            <a:ext cx="293114" cy="288023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499B44E4-7B24-C25B-EE91-CA8EBE31C285}"/>
              </a:ext>
            </a:extLst>
          </p:cNvPr>
          <p:cNvSpPr/>
          <p:nvPr/>
        </p:nvSpPr>
        <p:spPr>
          <a:xfrm>
            <a:off x="7694635" y="1483443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9324D9F9-A9AC-1A0D-AC7C-97BD44DED1D3}"/>
              </a:ext>
            </a:extLst>
          </p:cNvPr>
          <p:cNvSpPr/>
          <p:nvPr/>
        </p:nvSpPr>
        <p:spPr>
          <a:xfrm>
            <a:off x="7694635" y="2515030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EB49A62A-8464-73ED-5048-145E5983F2B4}"/>
              </a:ext>
            </a:extLst>
          </p:cNvPr>
          <p:cNvSpPr/>
          <p:nvPr/>
        </p:nvSpPr>
        <p:spPr>
          <a:xfrm>
            <a:off x="7694635" y="2157028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A9FBFFA3-03DA-EB55-4E64-491D662EAED5}"/>
              </a:ext>
            </a:extLst>
          </p:cNvPr>
          <p:cNvSpPr/>
          <p:nvPr/>
        </p:nvSpPr>
        <p:spPr>
          <a:xfrm>
            <a:off x="7694635" y="3188623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305" name="Rectangle 304">
            <a:extLst>
              <a:ext uri="{FF2B5EF4-FFF2-40B4-BE49-F238E27FC236}">
                <a16:creationId xmlns:a16="http://schemas.microsoft.com/office/drawing/2014/main" id="{C2DF7E8E-FD0A-40C9-0D7F-C567C6DA97AE}"/>
              </a:ext>
            </a:extLst>
          </p:cNvPr>
          <p:cNvSpPr/>
          <p:nvPr/>
        </p:nvSpPr>
        <p:spPr>
          <a:xfrm>
            <a:off x="7694635" y="3546632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BD6462BE-3A2F-779D-63CB-B6164DF4298F}"/>
              </a:ext>
            </a:extLst>
          </p:cNvPr>
          <p:cNvSpPr/>
          <p:nvPr/>
        </p:nvSpPr>
        <p:spPr>
          <a:xfrm>
            <a:off x="8733852" y="3541365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739B201C-B3ED-E02C-807D-29C9138FD9FC}"/>
              </a:ext>
            </a:extLst>
          </p:cNvPr>
          <p:cNvSpPr/>
          <p:nvPr/>
        </p:nvSpPr>
        <p:spPr>
          <a:xfrm>
            <a:off x="7700049" y="3883964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CADF6FE5-F48B-C750-E313-18E07A964800}"/>
              </a:ext>
            </a:extLst>
          </p:cNvPr>
          <p:cNvSpPr/>
          <p:nvPr/>
        </p:nvSpPr>
        <p:spPr>
          <a:xfrm>
            <a:off x="6301961" y="2851411"/>
            <a:ext cx="289829" cy="293999"/>
          </a:xfrm>
          <a:prstGeom prst="rect">
            <a:avLst/>
          </a:prstGeom>
          <a:solidFill>
            <a:srgbClr val="A6A6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659273F8-1800-2D57-B59B-AA47C51E3830}"/>
              </a:ext>
            </a:extLst>
          </p:cNvPr>
          <p:cNvSpPr/>
          <p:nvPr/>
        </p:nvSpPr>
        <p:spPr>
          <a:xfrm>
            <a:off x="6995508" y="2854582"/>
            <a:ext cx="289829" cy="293999"/>
          </a:xfrm>
          <a:prstGeom prst="rect">
            <a:avLst/>
          </a:prstGeom>
          <a:solidFill>
            <a:srgbClr val="A6A6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DA14EBDF-494B-79E7-D34F-3B87B9DCF416}"/>
              </a:ext>
            </a:extLst>
          </p:cNvPr>
          <p:cNvSpPr/>
          <p:nvPr/>
        </p:nvSpPr>
        <p:spPr>
          <a:xfrm>
            <a:off x="7692643" y="2854583"/>
            <a:ext cx="289829" cy="293999"/>
          </a:xfrm>
          <a:prstGeom prst="rect">
            <a:avLst/>
          </a:prstGeom>
          <a:solidFill>
            <a:srgbClr val="A6A6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2" name="Rectangle 311">
            <a:extLst>
              <a:ext uri="{FF2B5EF4-FFF2-40B4-BE49-F238E27FC236}">
                <a16:creationId xmlns:a16="http://schemas.microsoft.com/office/drawing/2014/main" id="{5826DAA2-CDB9-83F4-1C64-5A66050B9C25}"/>
              </a:ext>
            </a:extLst>
          </p:cNvPr>
          <p:cNvSpPr/>
          <p:nvPr/>
        </p:nvSpPr>
        <p:spPr>
          <a:xfrm>
            <a:off x="8740858" y="2855165"/>
            <a:ext cx="293114" cy="293999"/>
          </a:xfrm>
          <a:prstGeom prst="rect">
            <a:avLst/>
          </a:prstGeom>
          <a:solidFill>
            <a:srgbClr val="A6A6A6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70582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9760ED-9885-20D3-14EF-72898D9444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6A3C2391-8743-BDC3-2C6F-7D103B649A4C}"/>
              </a:ext>
            </a:extLst>
          </p:cNvPr>
          <p:cNvSpPr/>
          <p:nvPr/>
        </p:nvSpPr>
        <p:spPr>
          <a:xfrm>
            <a:off x="8249171" y="4259759"/>
            <a:ext cx="894833" cy="9007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8"/>
            <a:endParaRPr lang="en-AU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AF3046B-39E3-D598-052C-F21426EE47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AF3046B-39E3-D598-052C-F21426EE47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94258813-2A50-CE64-73D1-D855AA3497F7}"/>
              </a:ext>
            </a:extLst>
          </p:cNvPr>
          <p:cNvSpPr/>
          <p:nvPr/>
        </p:nvSpPr>
        <p:spPr>
          <a:xfrm>
            <a:off x="89941" y="4259760"/>
            <a:ext cx="1611428" cy="440875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8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NIP or CVCP funded </a:t>
            </a:r>
            <a:br>
              <a:rPr lang="en-US" sz="8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sz="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r eligible patients</a:t>
            </a:r>
            <a:endParaRPr lang="en-AU" sz="6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D77624B-FD9C-EA4B-E1F2-692DD3A461FC}"/>
              </a:ext>
            </a:extLst>
          </p:cNvPr>
          <p:cNvSpPr/>
          <p:nvPr/>
        </p:nvSpPr>
        <p:spPr>
          <a:xfrm>
            <a:off x="1765561" y="4261079"/>
            <a:ext cx="1611428" cy="440875"/>
          </a:xfrm>
          <a:prstGeom prst="rect">
            <a:avLst/>
          </a:prstGeom>
          <a:solidFill>
            <a:srgbClr val="B5CD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8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tate funded vaccines</a:t>
            </a:r>
            <a:br>
              <a:rPr lang="en-US" sz="8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sz="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r eligible patients (asterisk * denotes additional eligibility beyond NIP)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3B647414-1E4D-39F7-2DE9-45C0468F895B}"/>
              </a:ext>
            </a:extLst>
          </p:cNvPr>
          <p:cNvSpPr txBox="1"/>
          <p:nvPr/>
        </p:nvSpPr>
        <p:spPr>
          <a:xfrm>
            <a:off x="1765562" y="4770061"/>
            <a:ext cx="50168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8"/>
            <a:r>
              <a:rPr lang="en-AU" sz="7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ANT: </a:t>
            </a:r>
            <a:r>
              <a:rPr lang="en-AU" sz="7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restrictions may apply. Refer to state/territory pharmacist vaccination authorisations. Pharmacists must adhere to individual scope of practice, recommendations of the Australian Immunisation Handbook and ATAGI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8D6E9EAC-2F56-0BEC-4B36-C4BFC5AFAC9B}"/>
              </a:ext>
            </a:extLst>
          </p:cNvPr>
          <p:cNvSpPr txBox="1"/>
          <p:nvPr/>
        </p:nvSpPr>
        <p:spPr>
          <a:xfrm>
            <a:off x="6765122" y="4235122"/>
            <a:ext cx="23069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8"/>
            <a:r>
              <a:rPr lang="en-AU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Only under Victorian Community Pharmacist Statewide Program (VCPSP); </a:t>
            </a:r>
          </a:p>
          <a:p>
            <a:pPr defTabSz="914288"/>
            <a:r>
              <a:rPr lang="en-AU" sz="800" baseline="30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 </a:t>
            </a:r>
            <a:r>
              <a:rPr lang="en-AU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travel, min age 12 + only under VCPSP; </a:t>
            </a:r>
          </a:p>
          <a:p>
            <a:pPr defTabSz="914288"/>
            <a:r>
              <a:rPr lang="en-AU" sz="800" b="1" baseline="30000"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  <a:r>
              <a:rPr lang="en-AU" sz="800">
                <a:latin typeface="Arial" panose="020B0604020202020204" pitchFamily="34" charset="0"/>
                <a:cs typeface="Arial" panose="020B0604020202020204" pitchFamily="34" charset="0"/>
              </a:rPr>
              <a:t>For travel</a:t>
            </a:r>
            <a:r>
              <a:rPr lang="en-AU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in age 15 + only under VCPSP; </a:t>
            </a:r>
          </a:p>
          <a:p>
            <a:pPr defTabSz="914288"/>
            <a:r>
              <a:rPr lang="en-US" sz="800" b="1" baseline="30000"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en-AU" sz="800"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AU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vel, min age 50 + only under VCPSP; </a:t>
            </a:r>
          </a:p>
          <a:p>
            <a:pPr defTabSz="914288"/>
            <a:r>
              <a:rPr lang="en-AU" sz="7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^</a:t>
            </a:r>
            <a:r>
              <a:rPr lang="en-AU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gnant women 28–36 </a:t>
            </a:r>
            <a:r>
              <a:rPr lang="en-AU" sz="80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ks</a:t>
            </a:r>
            <a:r>
              <a:rPr lang="en-AU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esta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266E0E7-8B57-D055-CA81-0FAD232B0116}"/>
              </a:ext>
            </a:extLst>
          </p:cNvPr>
          <p:cNvSpPr/>
          <p:nvPr/>
        </p:nvSpPr>
        <p:spPr>
          <a:xfrm>
            <a:off x="71925" y="4774689"/>
            <a:ext cx="1611428" cy="283316"/>
          </a:xfrm>
          <a:prstGeom prst="rect">
            <a:avLst/>
          </a:prstGeom>
          <a:solidFill>
            <a:srgbClr val="00B050"/>
          </a:solidFill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NIP funded vaccines may not be available for ordering by community pharmacies. </a:t>
            </a:r>
            <a:endParaRPr lang="en-AU" sz="6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CD33AB5-3C6C-6133-E3D9-55093705AAA8}"/>
              </a:ext>
            </a:extLst>
          </p:cNvPr>
          <p:cNvSpPr/>
          <p:nvPr/>
        </p:nvSpPr>
        <p:spPr>
          <a:xfrm>
            <a:off x="3453864" y="4260262"/>
            <a:ext cx="1611427" cy="4518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8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Non-govt funded vaccines only</a:t>
            </a:r>
            <a:endParaRPr lang="en-AU" sz="8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159143B-303B-5E49-2FC1-AC715C21D4F0}"/>
              </a:ext>
            </a:extLst>
          </p:cNvPr>
          <p:cNvSpPr/>
          <p:nvPr/>
        </p:nvSpPr>
        <p:spPr>
          <a:xfrm>
            <a:off x="5153696" y="4271516"/>
            <a:ext cx="1611426" cy="44087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8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Not permitted</a:t>
            </a:r>
            <a:endParaRPr lang="en-AU" sz="80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433632C-D744-5405-E31F-BD5F01954EAD}"/>
              </a:ext>
            </a:extLst>
          </p:cNvPr>
          <p:cNvSpPr txBox="1">
            <a:spLocks/>
          </p:cNvSpPr>
          <p:nvPr/>
        </p:nvSpPr>
        <p:spPr>
          <a:xfrm>
            <a:off x="1302326" y="42991"/>
            <a:ext cx="7841673" cy="482215"/>
          </a:xfrm>
          <a:prstGeom prst="rect">
            <a:avLst/>
          </a:prstGeom>
          <a:noFill/>
        </p:spPr>
        <p:txBody>
          <a:bodyPr anchor="b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604748" indent="-536891" defTabSz="685681">
              <a:lnSpc>
                <a:spcPct val="120000"/>
              </a:lnSpc>
              <a:defRPr/>
            </a:pPr>
            <a:r>
              <a:rPr lang="en-US" sz="24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rmacist vaccine formulary </a:t>
            </a:r>
            <a:r>
              <a:rPr lang="en-US" sz="135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May 2024</a:t>
            </a:r>
            <a:endParaRPr lang="en-US" sz="18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454B283-B4E4-B5B1-6531-F9198F6822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5"/>
            <a:ext cx="9144000" cy="538843"/>
          </a:xfrm>
          <a:prstGeom prst="rect">
            <a:avLst/>
          </a:prstGeom>
        </p:spPr>
      </p:pic>
      <p:sp>
        <p:nvSpPr>
          <p:cNvPr id="88" name="Title 1">
            <a:extLst>
              <a:ext uri="{FF2B5EF4-FFF2-40B4-BE49-F238E27FC236}">
                <a16:creationId xmlns:a16="http://schemas.microsoft.com/office/drawing/2014/main" id="{1C39413C-B897-F876-3FCF-549552EAEE39}"/>
              </a:ext>
            </a:extLst>
          </p:cNvPr>
          <p:cNvSpPr txBox="1">
            <a:spLocks/>
          </p:cNvSpPr>
          <p:nvPr/>
        </p:nvSpPr>
        <p:spPr>
          <a:xfrm>
            <a:off x="1234440" y="18353"/>
            <a:ext cx="7974982" cy="482215"/>
          </a:xfrm>
          <a:prstGeom prst="rect">
            <a:avLst/>
          </a:prstGeom>
          <a:noFill/>
        </p:spPr>
        <p:txBody>
          <a:bodyPr lIns="68580" tIns="34290" rIns="68580" bIns="34290" anchor="b">
            <a:normAutofit fontScale="7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604346" indent="-536720" defTabSz="685681">
              <a:lnSpc>
                <a:spcPct val="120000"/>
              </a:lnSpc>
              <a:defRPr/>
            </a:pPr>
            <a:r>
              <a:rPr lang="en-US" sz="2400" b="1">
                <a:solidFill>
                  <a:prstClr val="white"/>
                </a:solidFill>
                <a:latin typeface="Arial"/>
                <a:cs typeface="Arial"/>
              </a:rPr>
              <a:t>Vaccines that pharmacists can prescribe (initiate) and administer </a:t>
            </a:r>
            <a:r>
              <a:rPr lang="en-US" sz="1650" b="1">
                <a:solidFill>
                  <a:prstClr val="white"/>
                </a:solidFill>
                <a:latin typeface="Arial"/>
                <a:cs typeface="Arial"/>
              </a:rPr>
              <a:t>July 2025</a:t>
            </a:r>
            <a:endParaRPr lang="en-US" sz="165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5749274-5F4E-2802-DB0E-11C53CD23FAE}"/>
              </a:ext>
            </a:extLst>
          </p:cNvPr>
          <p:cNvSpPr/>
          <p:nvPr/>
        </p:nvSpPr>
        <p:spPr>
          <a:xfrm>
            <a:off x="6652766" y="1829457"/>
            <a:ext cx="29085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7E44DAC4-2B78-B113-B6C6-2B4C2B0447CF}"/>
              </a:ext>
            </a:extLst>
          </p:cNvPr>
          <p:cNvSpPr/>
          <p:nvPr/>
        </p:nvSpPr>
        <p:spPr>
          <a:xfrm>
            <a:off x="6652766" y="1486856"/>
            <a:ext cx="290854" cy="293999"/>
          </a:xfrm>
          <a:prstGeom prst="rect">
            <a:avLst/>
          </a:prstGeom>
          <a:solidFill>
            <a:srgbClr val="A6A6A6"/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EF2C9195-B9D1-C9B3-B7C7-18FD04993A9C}"/>
              </a:ext>
            </a:extLst>
          </p:cNvPr>
          <p:cNvSpPr/>
          <p:nvPr/>
        </p:nvSpPr>
        <p:spPr>
          <a:xfrm>
            <a:off x="6652766" y="2514661"/>
            <a:ext cx="289829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A0D2A58-160E-57B9-C454-2B689E512D16}"/>
              </a:ext>
            </a:extLst>
          </p:cNvPr>
          <p:cNvSpPr/>
          <p:nvPr/>
        </p:nvSpPr>
        <p:spPr>
          <a:xfrm>
            <a:off x="6652766" y="2172060"/>
            <a:ext cx="289829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9DCE4C37-970E-D03C-B180-07CE68990F9E}"/>
              </a:ext>
            </a:extLst>
          </p:cNvPr>
          <p:cNvSpPr/>
          <p:nvPr/>
        </p:nvSpPr>
        <p:spPr>
          <a:xfrm>
            <a:off x="6652766" y="3199865"/>
            <a:ext cx="29085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^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3FA8CD9-8535-53CB-C204-42AE023FA25A}"/>
              </a:ext>
            </a:extLst>
          </p:cNvPr>
          <p:cNvSpPr/>
          <p:nvPr/>
        </p:nvSpPr>
        <p:spPr>
          <a:xfrm>
            <a:off x="6652766" y="2857262"/>
            <a:ext cx="289829" cy="293999"/>
          </a:xfrm>
          <a:prstGeom prst="rect">
            <a:avLst/>
          </a:prstGeom>
          <a:solidFill>
            <a:srgbClr val="A6A6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2E3B7C1-A90C-66B0-51C8-CE78DF0B4DE8}"/>
              </a:ext>
            </a:extLst>
          </p:cNvPr>
          <p:cNvSpPr/>
          <p:nvPr/>
        </p:nvSpPr>
        <p:spPr>
          <a:xfrm>
            <a:off x="6652766" y="3885066"/>
            <a:ext cx="289829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0DA00EDA-3D3A-FB57-11F5-D0AF5B40C128}"/>
              </a:ext>
            </a:extLst>
          </p:cNvPr>
          <p:cNvSpPr/>
          <p:nvPr/>
        </p:nvSpPr>
        <p:spPr>
          <a:xfrm rot="5400000">
            <a:off x="6357729" y="831263"/>
            <a:ext cx="883190" cy="293115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bies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34B0CF3A-4DE0-254B-418E-1E607934653C}"/>
              </a:ext>
            </a:extLst>
          </p:cNvPr>
          <p:cNvSpPr/>
          <p:nvPr/>
        </p:nvSpPr>
        <p:spPr>
          <a:xfrm>
            <a:off x="6652766" y="3542466"/>
            <a:ext cx="29085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A234BB01-47D8-29EA-5EF6-E058677E56E2}"/>
              </a:ext>
            </a:extLst>
          </p:cNvPr>
          <p:cNvSpPr/>
          <p:nvPr/>
        </p:nvSpPr>
        <p:spPr>
          <a:xfrm>
            <a:off x="1492216" y="1831486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F44E42F-029E-8083-4497-A74723883E59}"/>
              </a:ext>
            </a:extLst>
          </p:cNvPr>
          <p:cNvSpPr/>
          <p:nvPr/>
        </p:nvSpPr>
        <p:spPr>
          <a:xfrm>
            <a:off x="1492216" y="1488882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5D00E127-B008-3989-93A0-A456A48A2E5A}"/>
              </a:ext>
            </a:extLst>
          </p:cNvPr>
          <p:cNvSpPr/>
          <p:nvPr/>
        </p:nvSpPr>
        <p:spPr>
          <a:xfrm>
            <a:off x="1492216" y="2516687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D53B81E5-EF01-1A58-84E6-B241C5A11DD5}"/>
              </a:ext>
            </a:extLst>
          </p:cNvPr>
          <p:cNvSpPr/>
          <p:nvPr/>
        </p:nvSpPr>
        <p:spPr>
          <a:xfrm>
            <a:off x="1492216" y="2174086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C8857EB4-F45C-AD6B-9A29-084C89B58B62}"/>
              </a:ext>
            </a:extLst>
          </p:cNvPr>
          <p:cNvSpPr/>
          <p:nvPr/>
        </p:nvSpPr>
        <p:spPr>
          <a:xfrm>
            <a:off x="1492216" y="3201891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7BCDE540-01BA-6BF5-7508-D3B1C13353DF}"/>
              </a:ext>
            </a:extLst>
          </p:cNvPr>
          <p:cNvSpPr/>
          <p:nvPr/>
        </p:nvSpPr>
        <p:spPr>
          <a:xfrm>
            <a:off x="1492216" y="2859290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2C2B4CAB-045E-49FA-19A7-16BD64CAF736}"/>
              </a:ext>
            </a:extLst>
          </p:cNvPr>
          <p:cNvSpPr/>
          <p:nvPr/>
        </p:nvSpPr>
        <p:spPr>
          <a:xfrm>
            <a:off x="1492216" y="3887092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036D5CE8-9DA2-E778-F00E-9AC61D75260E}"/>
              </a:ext>
            </a:extLst>
          </p:cNvPr>
          <p:cNvSpPr/>
          <p:nvPr/>
        </p:nvSpPr>
        <p:spPr>
          <a:xfrm>
            <a:off x="1492216" y="3544492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976AC390-F167-6B26-A097-27D94053DD62}"/>
              </a:ext>
            </a:extLst>
          </p:cNvPr>
          <p:cNvSpPr/>
          <p:nvPr/>
        </p:nvSpPr>
        <p:spPr>
          <a:xfrm rot="5400000">
            <a:off x="1197800" y="833581"/>
            <a:ext cx="881946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b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8BC4C12A-A0A3-90B5-1BA4-6B3BD59607FB}"/>
              </a:ext>
            </a:extLst>
          </p:cNvPr>
          <p:cNvSpPr/>
          <p:nvPr/>
        </p:nvSpPr>
        <p:spPr>
          <a:xfrm>
            <a:off x="1834960" y="1831486"/>
            <a:ext cx="293114" cy="293999"/>
          </a:xfrm>
          <a:prstGeom prst="rect">
            <a:avLst/>
          </a:prstGeom>
          <a:solidFill>
            <a:srgbClr val="B5CD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9FCD2BD1-CEA9-E439-E628-78122AAE82EE}"/>
              </a:ext>
            </a:extLst>
          </p:cNvPr>
          <p:cNvSpPr/>
          <p:nvPr/>
        </p:nvSpPr>
        <p:spPr>
          <a:xfrm>
            <a:off x="1834960" y="1488882"/>
            <a:ext cx="29311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BFFA3811-8711-57FE-E850-740A823B69A5}"/>
              </a:ext>
            </a:extLst>
          </p:cNvPr>
          <p:cNvSpPr/>
          <p:nvPr/>
        </p:nvSpPr>
        <p:spPr>
          <a:xfrm>
            <a:off x="1834960" y="2516687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B7C6BFE9-14B1-BA11-70E7-37020C858B12}"/>
              </a:ext>
            </a:extLst>
          </p:cNvPr>
          <p:cNvSpPr/>
          <p:nvPr/>
        </p:nvSpPr>
        <p:spPr>
          <a:xfrm>
            <a:off x="1834960" y="2174086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B171B8FB-2B3E-C255-36E0-A7CF6C06EBD9}"/>
              </a:ext>
            </a:extLst>
          </p:cNvPr>
          <p:cNvSpPr/>
          <p:nvPr/>
        </p:nvSpPr>
        <p:spPr>
          <a:xfrm>
            <a:off x="1834960" y="3201891"/>
            <a:ext cx="29311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BB6C853B-197A-FE8D-2AEE-DF97B3B5F437}"/>
              </a:ext>
            </a:extLst>
          </p:cNvPr>
          <p:cNvSpPr/>
          <p:nvPr/>
        </p:nvSpPr>
        <p:spPr>
          <a:xfrm>
            <a:off x="1834960" y="2859290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DF40738F-D500-9D53-90FF-A197485192B3}"/>
              </a:ext>
            </a:extLst>
          </p:cNvPr>
          <p:cNvSpPr/>
          <p:nvPr/>
        </p:nvSpPr>
        <p:spPr>
          <a:xfrm>
            <a:off x="1834960" y="3887092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94EBB4DD-BD13-B70E-5A28-89C3E29B754F}"/>
              </a:ext>
            </a:extLst>
          </p:cNvPr>
          <p:cNvSpPr/>
          <p:nvPr/>
        </p:nvSpPr>
        <p:spPr>
          <a:xfrm>
            <a:off x="1834960" y="3544492"/>
            <a:ext cx="29311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AU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A393214B-09BB-C793-29E4-8879AAAEFA62}"/>
              </a:ext>
            </a:extLst>
          </p:cNvPr>
          <p:cNvSpPr/>
          <p:nvPr/>
        </p:nvSpPr>
        <p:spPr>
          <a:xfrm rot="5400000">
            <a:off x="1540541" y="833584"/>
            <a:ext cx="881949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p 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CD1BC10-DA74-6777-5606-A53167F97C57}"/>
              </a:ext>
            </a:extLst>
          </p:cNvPr>
          <p:cNvSpPr/>
          <p:nvPr/>
        </p:nvSpPr>
        <p:spPr>
          <a:xfrm>
            <a:off x="98381" y="1822989"/>
            <a:ext cx="334596" cy="293998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" bIns="0" rtlCol="0" anchor="ctr"/>
          <a:lstStyle/>
          <a:p>
            <a:pPr algn="r" defTabSz="914198">
              <a:defRPr/>
            </a:pPr>
            <a:r>
              <a:rPr lang="en-US" sz="9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W</a:t>
            </a:r>
            <a:endParaRPr lang="en-AU" sz="9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63230CB-0C45-2178-B6AF-E414C8A5EF66}"/>
              </a:ext>
            </a:extLst>
          </p:cNvPr>
          <p:cNvSpPr/>
          <p:nvPr/>
        </p:nvSpPr>
        <p:spPr>
          <a:xfrm>
            <a:off x="98381" y="1485864"/>
            <a:ext cx="334596" cy="297012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" bIns="0" rtlCol="0" anchor="ctr"/>
          <a:lstStyle/>
          <a:p>
            <a:pPr algn="r" defTabSz="914198">
              <a:defRPr/>
            </a:pPr>
            <a:r>
              <a:rPr lang="en-US" sz="9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</a:t>
            </a:r>
            <a:endParaRPr lang="en-AU" sz="9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3B7B515-E7D7-C7AB-8437-C338BB8164A8}"/>
              </a:ext>
            </a:extLst>
          </p:cNvPr>
          <p:cNvSpPr/>
          <p:nvPr/>
        </p:nvSpPr>
        <p:spPr>
          <a:xfrm>
            <a:off x="98381" y="2510718"/>
            <a:ext cx="334596" cy="293998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" bIns="0" rtlCol="0" anchor="ctr"/>
          <a:lstStyle/>
          <a:p>
            <a:pPr algn="r" defTabSz="914198">
              <a:defRPr/>
            </a:pPr>
            <a:r>
              <a:rPr lang="en-US" sz="9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LD</a:t>
            </a:r>
            <a:endParaRPr lang="en-AU" sz="9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37DF00A-7330-FAE2-A4B1-1E1E69CDED9A}"/>
              </a:ext>
            </a:extLst>
          </p:cNvPr>
          <p:cNvSpPr/>
          <p:nvPr/>
        </p:nvSpPr>
        <p:spPr>
          <a:xfrm>
            <a:off x="98381" y="2166854"/>
            <a:ext cx="334596" cy="293998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" bIns="0" rtlCol="0" anchor="ctr"/>
          <a:lstStyle/>
          <a:p>
            <a:pPr algn="r" defTabSz="914198">
              <a:defRPr/>
            </a:pPr>
            <a:r>
              <a:rPr lang="en-US" sz="9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</a:t>
            </a:r>
            <a:endParaRPr lang="en-AU" sz="9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86C132A-C6ED-906B-C21F-39F4D358C882}"/>
              </a:ext>
            </a:extLst>
          </p:cNvPr>
          <p:cNvSpPr/>
          <p:nvPr/>
        </p:nvSpPr>
        <p:spPr>
          <a:xfrm>
            <a:off x="98381" y="3198447"/>
            <a:ext cx="334596" cy="293998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" bIns="0" rtlCol="0" anchor="ctr"/>
          <a:lstStyle/>
          <a:p>
            <a:pPr algn="r" defTabSz="914198">
              <a:defRPr/>
            </a:pPr>
            <a:r>
              <a:rPr lang="en-US" sz="9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</a:t>
            </a:r>
            <a:endParaRPr lang="en-AU" sz="9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8288D1-CB1F-E5D6-D323-8B240ACEE3B0}"/>
              </a:ext>
            </a:extLst>
          </p:cNvPr>
          <p:cNvSpPr/>
          <p:nvPr/>
        </p:nvSpPr>
        <p:spPr>
          <a:xfrm>
            <a:off x="98381" y="2854583"/>
            <a:ext cx="334596" cy="293998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" bIns="0" rtlCol="0" anchor="ctr"/>
          <a:lstStyle/>
          <a:p>
            <a:pPr algn="r" defTabSz="914198">
              <a:defRPr/>
            </a:pPr>
            <a:r>
              <a:rPr lang="en-US" sz="9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</a:t>
            </a:r>
            <a:endParaRPr lang="en-AU" sz="9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15B35F7-F45E-E707-E1BC-0E87237E99BC}"/>
              </a:ext>
            </a:extLst>
          </p:cNvPr>
          <p:cNvSpPr/>
          <p:nvPr/>
        </p:nvSpPr>
        <p:spPr>
          <a:xfrm>
            <a:off x="98381" y="3886178"/>
            <a:ext cx="334596" cy="293998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" bIns="0" rtlCol="0" anchor="ctr"/>
          <a:lstStyle/>
          <a:p>
            <a:pPr algn="r" defTabSz="914198">
              <a:defRPr/>
            </a:pPr>
            <a:r>
              <a:rPr lang="en-US" sz="9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</a:t>
            </a:r>
            <a:endParaRPr lang="en-AU" sz="9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6674CCB8-6582-9DA9-E207-4A105E78B87E}"/>
              </a:ext>
            </a:extLst>
          </p:cNvPr>
          <p:cNvSpPr/>
          <p:nvPr/>
        </p:nvSpPr>
        <p:spPr>
          <a:xfrm>
            <a:off x="98381" y="3542313"/>
            <a:ext cx="334596" cy="293998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36000" bIns="0" rtlCol="0" anchor="ctr"/>
          <a:lstStyle/>
          <a:p>
            <a:pPr algn="r" defTabSz="914198">
              <a:defRPr/>
            </a:pPr>
            <a:r>
              <a:rPr lang="en-US" sz="9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C</a:t>
            </a:r>
            <a:endParaRPr lang="en-AU" sz="9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8A69C901-9E9F-5DBF-E1DC-6E006F5728B0}"/>
              </a:ext>
            </a:extLst>
          </p:cNvPr>
          <p:cNvSpPr/>
          <p:nvPr/>
        </p:nvSpPr>
        <p:spPr>
          <a:xfrm>
            <a:off x="2177703" y="182390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7DF3B52-2132-23A0-DD2E-9C871B7D114A}"/>
              </a:ext>
            </a:extLst>
          </p:cNvPr>
          <p:cNvSpPr/>
          <p:nvPr/>
        </p:nvSpPr>
        <p:spPr>
          <a:xfrm>
            <a:off x="2177703" y="1488930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322A1025-743C-3B8A-E489-59BE0B00AE04}"/>
              </a:ext>
            </a:extLst>
          </p:cNvPr>
          <p:cNvSpPr/>
          <p:nvPr/>
        </p:nvSpPr>
        <p:spPr>
          <a:xfrm>
            <a:off x="2177703" y="2511633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E9C95664-EB9C-792B-D4F4-33FF95786872}"/>
              </a:ext>
            </a:extLst>
          </p:cNvPr>
          <p:cNvSpPr/>
          <p:nvPr/>
        </p:nvSpPr>
        <p:spPr>
          <a:xfrm>
            <a:off x="2177703" y="216776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BDB08E7D-04C1-2739-4784-955347289276}"/>
              </a:ext>
            </a:extLst>
          </p:cNvPr>
          <p:cNvSpPr/>
          <p:nvPr/>
        </p:nvSpPr>
        <p:spPr>
          <a:xfrm>
            <a:off x="2177703" y="319936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6B53B216-C751-6AF0-24D4-8B492712DDFB}"/>
              </a:ext>
            </a:extLst>
          </p:cNvPr>
          <p:cNvSpPr/>
          <p:nvPr/>
        </p:nvSpPr>
        <p:spPr>
          <a:xfrm>
            <a:off x="2177703" y="2855498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735D588B-AC73-81F0-26B1-2DA16A26514A}"/>
              </a:ext>
            </a:extLst>
          </p:cNvPr>
          <p:cNvSpPr/>
          <p:nvPr/>
        </p:nvSpPr>
        <p:spPr>
          <a:xfrm>
            <a:off x="2177703" y="3887092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E12766E4-8969-6654-D664-A62135CD4C2A}"/>
              </a:ext>
            </a:extLst>
          </p:cNvPr>
          <p:cNvSpPr/>
          <p:nvPr/>
        </p:nvSpPr>
        <p:spPr>
          <a:xfrm>
            <a:off x="2177703" y="3543228"/>
            <a:ext cx="293114" cy="293999"/>
          </a:xfrm>
          <a:prstGeom prst="rect">
            <a:avLst/>
          </a:prstGeom>
          <a:solidFill>
            <a:srgbClr val="B5CE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</a:t>
            </a:r>
            <a:r>
              <a:rPr lang="en-US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</a:t>
            </a:r>
            <a:endParaRPr lang="en-AU" sz="1200" b="1" baseline="300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26ED20CE-D3D3-23D6-363F-326D2F2ED4AB}"/>
              </a:ext>
            </a:extLst>
          </p:cNvPr>
          <p:cNvSpPr/>
          <p:nvPr/>
        </p:nvSpPr>
        <p:spPr>
          <a:xfrm rot="5400000">
            <a:off x="1883288" y="833578"/>
            <a:ext cx="881943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p B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4175E864-845F-FD49-1772-9C4C4DABDC04}"/>
              </a:ext>
            </a:extLst>
          </p:cNvPr>
          <p:cNvSpPr/>
          <p:nvPr/>
        </p:nvSpPr>
        <p:spPr>
          <a:xfrm>
            <a:off x="2520445" y="182390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790A163-A42F-EAF7-B2A6-8C5B071F2FAD}"/>
              </a:ext>
            </a:extLst>
          </p:cNvPr>
          <p:cNvSpPr/>
          <p:nvPr/>
        </p:nvSpPr>
        <p:spPr>
          <a:xfrm>
            <a:off x="2520445" y="1488884"/>
            <a:ext cx="293114" cy="297011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F0246699-655C-2748-214D-EADD34637559}"/>
              </a:ext>
            </a:extLst>
          </p:cNvPr>
          <p:cNvSpPr/>
          <p:nvPr/>
        </p:nvSpPr>
        <p:spPr>
          <a:xfrm>
            <a:off x="2520445" y="251163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2763EA4F-1205-2DDA-F3B6-60BA86144950}"/>
              </a:ext>
            </a:extLst>
          </p:cNvPr>
          <p:cNvSpPr/>
          <p:nvPr/>
        </p:nvSpPr>
        <p:spPr>
          <a:xfrm>
            <a:off x="2520445" y="216776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DC5A2419-76B5-1CF0-2B8F-D8864C0C9DC3}"/>
              </a:ext>
            </a:extLst>
          </p:cNvPr>
          <p:cNvSpPr/>
          <p:nvPr/>
        </p:nvSpPr>
        <p:spPr>
          <a:xfrm>
            <a:off x="2520445" y="319936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FC1F47D5-67C7-0047-93DC-2EFF1A157B71}"/>
              </a:ext>
            </a:extLst>
          </p:cNvPr>
          <p:cNvSpPr/>
          <p:nvPr/>
        </p:nvSpPr>
        <p:spPr>
          <a:xfrm>
            <a:off x="2520445" y="285549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B76CC173-220D-BEC7-040C-1694C28011C4}"/>
              </a:ext>
            </a:extLst>
          </p:cNvPr>
          <p:cNvSpPr/>
          <p:nvPr/>
        </p:nvSpPr>
        <p:spPr>
          <a:xfrm>
            <a:off x="2520445" y="3887092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4A210552-6850-BC28-B785-84C6E7FD8190}"/>
              </a:ext>
            </a:extLst>
          </p:cNvPr>
          <p:cNvSpPr/>
          <p:nvPr/>
        </p:nvSpPr>
        <p:spPr>
          <a:xfrm>
            <a:off x="2520445" y="354322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endParaRPr lang="en-AU" sz="1200" b="1" baseline="300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677E58E2-EE65-82E9-2730-256E3CEE9A09}"/>
              </a:ext>
            </a:extLst>
          </p:cNvPr>
          <p:cNvSpPr/>
          <p:nvPr/>
        </p:nvSpPr>
        <p:spPr>
          <a:xfrm rot="5400000">
            <a:off x="2226033" y="833581"/>
            <a:ext cx="881944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pes zoster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15127DFD-EEB7-054A-122D-D789560140CE}"/>
              </a:ext>
            </a:extLst>
          </p:cNvPr>
          <p:cNvSpPr/>
          <p:nvPr/>
        </p:nvSpPr>
        <p:spPr>
          <a:xfrm>
            <a:off x="2863189" y="182390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A6EC91D5-133B-410C-248D-B766ECA38940}"/>
              </a:ext>
            </a:extLst>
          </p:cNvPr>
          <p:cNvSpPr/>
          <p:nvPr/>
        </p:nvSpPr>
        <p:spPr>
          <a:xfrm>
            <a:off x="2863189" y="1488884"/>
            <a:ext cx="293114" cy="297011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6DDD5E35-A432-634E-489E-DC38072DED3D}"/>
              </a:ext>
            </a:extLst>
          </p:cNvPr>
          <p:cNvSpPr/>
          <p:nvPr/>
        </p:nvSpPr>
        <p:spPr>
          <a:xfrm>
            <a:off x="2863189" y="251163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39443699-16B4-18A1-81CC-40BB0A4EB850}"/>
              </a:ext>
            </a:extLst>
          </p:cNvPr>
          <p:cNvSpPr/>
          <p:nvPr/>
        </p:nvSpPr>
        <p:spPr>
          <a:xfrm>
            <a:off x="2863189" y="216776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6D74F439-C4DE-A074-CFED-AA04AD75BBAD}"/>
              </a:ext>
            </a:extLst>
          </p:cNvPr>
          <p:cNvSpPr/>
          <p:nvPr/>
        </p:nvSpPr>
        <p:spPr>
          <a:xfrm>
            <a:off x="2863189" y="319936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DE2A1ACC-B612-E399-F077-963C11F76EC3}"/>
              </a:ext>
            </a:extLst>
          </p:cNvPr>
          <p:cNvSpPr/>
          <p:nvPr/>
        </p:nvSpPr>
        <p:spPr>
          <a:xfrm>
            <a:off x="2863189" y="285549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A87DDB94-D5B1-1424-D116-053970B50A08}"/>
              </a:ext>
            </a:extLst>
          </p:cNvPr>
          <p:cNvSpPr/>
          <p:nvPr/>
        </p:nvSpPr>
        <p:spPr>
          <a:xfrm>
            <a:off x="2863189" y="3887092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D25E0CFC-947C-0E99-6076-9648D8250EF5}"/>
              </a:ext>
            </a:extLst>
          </p:cNvPr>
          <p:cNvSpPr/>
          <p:nvPr/>
        </p:nvSpPr>
        <p:spPr>
          <a:xfrm>
            <a:off x="2863189" y="354322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endParaRPr lang="en-AU" sz="1200" b="1" baseline="300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4C07A9F9-8408-3E4F-7054-5D9199F15DEE}"/>
              </a:ext>
            </a:extLst>
          </p:cNvPr>
          <p:cNvSpPr/>
          <p:nvPr/>
        </p:nvSpPr>
        <p:spPr>
          <a:xfrm rot="5400000">
            <a:off x="2568778" y="833581"/>
            <a:ext cx="881943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PV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039F1C1F-100E-802E-44AC-09059119B064}"/>
              </a:ext>
            </a:extLst>
          </p:cNvPr>
          <p:cNvSpPr/>
          <p:nvPr/>
        </p:nvSpPr>
        <p:spPr>
          <a:xfrm>
            <a:off x="3205935" y="182390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A9CD14F9-A7F9-1F47-B6F2-BCE03EDA4F2A}"/>
              </a:ext>
            </a:extLst>
          </p:cNvPr>
          <p:cNvSpPr/>
          <p:nvPr/>
        </p:nvSpPr>
        <p:spPr>
          <a:xfrm>
            <a:off x="3205935" y="1488880"/>
            <a:ext cx="293114" cy="297012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73129339-1CCC-BBEE-5C0A-EDD407859975}"/>
              </a:ext>
            </a:extLst>
          </p:cNvPr>
          <p:cNvSpPr/>
          <p:nvPr/>
        </p:nvSpPr>
        <p:spPr>
          <a:xfrm>
            <a:off x="3205935" y="251163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19FD7DA3-2660-B188-9579-309B5214E20B}"/>
              </a:ext>
            </a:extLst>
          </p:cNvPr>
          <p:cNvSpPr/>
          <p:nvPr/>
        </p:nvSpPr>
        <p:spPr>
          <a:xfrm>
            <a:off x="3205935" y="216776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6BB264D6-5694-1A14-8036-C7574C0457C1}"/>
              </a:ext>
            </a:extLst>
          </p:cNvPr>
          <p:cNvSpPr/>
          <p:nvPr/>
        </p:nvSpPr>
        <p:spPr>
          <a:xfrm>
            <a:off x="3205935" y="319936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4B524D07-A842-D647-B361-5CED94974BC8}"/>
              </a:ext>
            </a:extLst>
          </p:cNvPr>
          <p:cNvSpPr/>
          <p:nvPr/>
        </p:nvSpPr>
        <p:spPr>
          <a:xfrm>
            <a:off x="3205935" y="285549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712A3D62-884E-A939-1148-5BD5223799D6}"/>
              </a:ext>
            </a:extLst>
          </p:cNvPr>
          <p:cNvSpPr/>
          <p:nvPr/>
        </p:nvSpPr>
        <p:spPr>
          <a:xfrm>
            <a:off x="3205935" y="3887092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70616115-63E5-83C6-316C-41CCAC951EAC}"/>
              </a:ext>
            </a:extLst>
          </p:cNvPr>
          <p:cNvSpPr/>
          <p:nvPr/>
        </p:nvSpPr>
        <p:spPr>
          <a:xfrm>
            <a:off x="3205935" y="354322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4FC416D2-2C08-3129-A985-D99FDD7E9293}"/>
              </a:ext>
            </a:extLst>
          </p:cNvPr>
          <p:cNvSpPr/>
          <p:nvPr/>
        </p:nvSpPr>
        <p:spPr>
          <a:xfrm rot="5400000">
            <a:off x="2911521" y="833581"/>
            <a:ext cx="881944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uenza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D5A2FD1C-2EFD-E30C-2B6C-4B9F9134B118}"/>
              </a:ext>
            </a:extLst>
          </p:cNvPr>
          <p:cNvSpPr/>
          <p:nvPr/>
        </p:nvSpPr>
        <p:spPr>
          <a:xfrm>
            <a:off x="3548679" y="1823903"/>
            <a:ext cx="293114" cy="293999"/>
          </a:xfrm>
          <a:prstGeom prst="rect">
            <a:avLst/>
          </a:prstGeom>
          <a:solidFill>
            <a:srgbClr val="B5CD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51C74717-95AE-DD4E-5B5B-70FA038AD3E2}"/>
              </a:ext>
            </a:extLst>
          </p:cNvPr>
          <p:cNvSpPr/>
          <p:nvPr/>
        </p:nvSpPr>
        <p:spPr>
          <a:xfrm>
            <a:off x="3548679" y="1485966"/>
            <a:ext cx="293114" cy="299926"/>
          </a:xfrm>
          <a:prstGeom prst="rect">
            <a:avLst/>
          </a:prstGeom>
          <a:solidFill>
            <a:srgbClr val="A6A6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1B7D079E-DF73-4906-1F53-0D2E52629F0C}"/>
              </a:ext>
            </a:extLst>
          </p:cNvPr>
          <p:cNvSpPr/>
          <p:nvPr/>
        </p:nvSpPr>
        <p:spPr>
          <a:xfrm>
            <a:off x="3548679" y="2511633"/>
            <a:ext cx="29311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235CB000-FEC2-BAF5-294E-6ED51567D614}"/>
              </a:ext>
            </a:extLst>
          </p:cNvPr>
          <p:cNvSpPr/>
          <p:nvPr/>
        </p:nvSpPr>
        <p:spPr>
          <a:xfrm>
            <a:off x="3548679" y="2167768"/>
            <a:ext cx="293114" cy="293999"/>
          </a:xfrm>
          <a:prstGeom prst="rect">
            <a:avLst/>
          </a:prstGeom>
          <a:solidFill>
            <a:srgbClr val="B5CD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4BA3FE47-2851-613A-8719-AD35AB158C5E}"/>
              </a:ext>
            </a:extLst>
          </p:cNvPr>
          <p:cNvSpPr/>
          <p:nvPr/>
        </p:nvSpPr>
        <p:spPr>
          <a:xfrm>
            <a:off x="3548679" y="3199363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^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A778E346-9234-E8DD-C13D-A5ECBBAD5DFE}"/>
              </a:ext>
            </a:extLst>
          </p:cNvPr>
          <p:cNvSpPr/>
          <p:nvPr/>
        </p:nvSpPr>
        <p:spPr>
          <a:xfrm>
            <a:off x="3548679" y="2855498"/>
            <a:ext cx="293114" cy="293999"/>
          </a:xfrm>
          <a:prstGeom prst="rect">
            <a:avLst/>
          </a:prstGeom>
          <a:solidFill>
            <a:srgbClr val="B5CD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251441F2-F909-709A-3099-AEB0E9517490}"/>
              </a:ext>
            </a:extLst>
          </p:cNvPr>
          <p:cNvSpPr/>
          <p:nvPr/>
        </p:nvSpPr>
        <p:spPr>
          <a:xfrm>
            <a:off x="3548679" y="3887092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29294653-D6C3-AFA7-286E-7B9810C38677}"/>
              </a:ext>
            </a:extLst>
          </p:cNvPr>
          <p:cNvSpPr/>
          <p:nvPr/>
        </p:nvSpPr>
        <p:spPr>
          <a:xfrm>
            <a:off x="3548679" y="3543228"/>
            <a:ext cx="293114" cy="293999"/>
          </a:xfrm>
          <a:prstGeom prst="rect">
            <a:avLst/>
          </a:prstGeom>
          <a:solidFill>
            <a:srgbClr val="B5CD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541AC218-AE6D-C034-D047-7DE979FF0EA9}"/>
              </a:ext>
            </a:extLst>
          </p:cNvPr>
          <p:cNvSpPr/>
          <p:nvPr/>
        </p:nvSpPr>
        <p:spPr>
          <a:xfrm rot="5400000">
            <a:off x="3254265" y="833581"/>
            <a:ext cx="881944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64A148EA-4229-598D-B5D1-076FFEFFA699}"/>
              </a:ext>
            </a:extLst>
          </p:cNvPr>
          <p:cNvSpPr/>
          <p:nvPr/>
        </p:nvSpPr>
        <p:spPr>
          <a:xfrm>
            <a:off x="3891423" y="182390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50827BFC-FFE3-E378-DA1F-3614A8648BD4}"/>
              </a:ext>
            </a:extLst>
          </p:cNvPr>
          <p:cNvSpPr/>
          <p:nvPr/>
        </p:nvSpPr>
        <p:spPr>
          <a:xfrm>
            <a:off x="3891423" y="1485869"/>
            <a:ext cx="293114" cy="300025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83F59DB0-26B3-75AE-C205-74C089B4F5FA}"/>
              </a:ext>
            </a:extLst>
          </p:cNvPr>
          <p:cNvSpPr/>
          <p:nvPr/>
        </p:nvSpPr>
        <p:spPr>
          <a:xfrm>
            <a:off x="3891423" y="2511633"/>
            <a:ext cx="293114" cy="293999"/>
          </a:xfrm>
          <a:prstGeom prst="rect">
            <a:avLst/>
          </a:prstGeom>
          <a:solidFill>
            <a:srgbClr val="00B050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1642F22E-F4D7-9C64-3787-9EA7758B1E3F}"/>
              </a:ext>
            </a:extLst>
          </p:cNvPr>
          <p:cNvSpPr/>
          <p:nvPr/>
        </p:nvSpPr>
        <p:spPr>
          <a:xfrm>
            <a:off x="3891423" y="216776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9AD54884-D3CF-062C-8A0F-8B3183B6F0D1}"/>
              </a:ext>
            </a:extLst>
          </p:cNvPr>
          <p:cNvSpPr/>
          <p:nvPr/>
        </p:nvSpPr>
        <p:spPr>
          <a:xfrm>
            <a:off x="3891423" y="319936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D7938276-1052-7C8D-7C0A-194BEE6C3A92}"/>
              </a:ext>
            </a:extLst>
          </p:cNvPr>
          <p:cNvSpPr/>
          <p:nvPr/>
        </p:nvSpPr>
        <p:spPr>
          <a:xfrm>
            <a:off x="3891423" y="2855498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BEC874AB-865E-8070-2381-DB1124CF6D3D}"/>
              </a:ext>
            </a:extLst>
          </p:cNvPr>
          <p:cNvSpPr/>
          <p:nvPr/>
        </p:nvSpPr>
        <p:spPr>
          <a:xfrm>
            <a:off x="3891423" y="3887092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CC554522-4144-BF41-C0B9-41856E25BA80}"/>
              </a:ext>
            </a:extLst>
          </p:cNvPr>
          <p:cNvSpPr/>
          <p:nvPr/>
        </p:nvSpPr>
        <p:spPr>
          <a:xfrm>
            <a:off x="3891423" y="354322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</a:t>
            </a:r>
            <a:r>
              <a:rPr lang="en-AU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28503DAC-EFDE-96DF-77FC-73BCD0B0B84B}"/>
              </a:ext>
            </a:extLst>
          </p:cNvPr>
          <p:cNvSpPr/>
          <p:nvPr/>
        </p:nvSpPr>
        <p:spPr>
          <a:xfrm rot="5400000">
            <a:off x="3597008" y="833578"/>
            <a:ext cx="881943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R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77266632-41E8-155C-E163-F7C6E1EC4192}"/>
              </a:ext>
            </a:extLst>
          </p:cNvPr>
          <p:cNvSpPr/>
          <p:nvPr/>
        </p:nvSpPr>
        <p:spPr>
          <a:xfrm>
            <a:off x="4234167" y="182390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78BDE2CC-59BA-9E63-15BE-81F74FCDCBD6}"/>
              </a:ext>
            </a:extLst>
          </p:cNvPr>
          <p:cNvSpPr/>
          <p:nvPr/>
        </p:nvSpPr>
        <p:spPr>
          <a:xfrm>
            <a:off x="4234167" y="1485869"/>
            <a:ext cx="293114" cy="300025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718F7486-9A57-5211-D149-E34A2F758BA0}"/>
              </a:ext>
            </a:extLst>
          </p:cNvPr>
          <p:cNvSpPr/>
          <p:nvPr/>
        </p:nvSpPr>
        <p:spPr>
          <a:xfrm>
            <a:off x="4234167" y="251163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8BC45E8C-F788-805E-A13F-26ADCF6CD953}"/>
              </a:ext>
            </a:extLst>
          </p:cNvPr>
          <p:cNvSpPr/>
          <p:nvPr/>
        </p:nvSpPr>
        <p:spPr>
          <a:xfrm>
            <a:off x="4234167" y="216776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AC1E0EA4-DAEA-85F5-CAA2-50DD850E310E}"/>
              </a:ext>
            </a:extLst>
          </p:cNvPr>
          <p:cNvSpPr/>
          <p:nvPr/>
        </p:nvSpPr>
        <p:spPr>
          <a:xfrm>
            <a:off x="4234167" y="319936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2DCC6559-EF06-D845-ED28-2B2B6C8150A0}"/>
              </a:ext>
            </a:extLst>
          </p:cNvPr>
          <p:cNvSpPr/>
          <p:nvPr/>
        </p:nvSpPr>
        <p:spPr>
          <a:xfrm>
            <a:off x="4234167" y="285549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9C044B0B-B99C-661E-EA9A-59C1498F0122}"/>
              </a:ext>
            </a:extLst>
          </p:cNvPr>
          <p:cNvSpPr/>
          <p:nvPr/>
        </p:nvSpPr>
        <p:spPr>
          <a:xfrm>
            <a:off x="4234167" y="3887092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BB208D67-3FAF-9A17-27BD-74C6916F37DF}"/>
              </a:ext>
            </a:extLst>
          </p:cNvPr>
          <p:cNvSpPr/>
          <p:nvPr/>
        </p:nvSpPr>
        <p:spPr>
          <a:xfrm>
            <a:off x="4234167" y="354322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AU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7E8E9DC2-5F30-83B2-5F0F-FED9E49A7286}"/>
              </a:ext>
            </a:extLst>
          </p:cNvPr>
          <p:cNvSpPr/>
          <p:nvPr/>
        </p:nvSpPr>
        <p:spPr>
          <a:xfrm rot="5400000">
            <a:off x="3939753" y="833581"/>
            <a:ext cx="881944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 ACWY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31E966F8-AA1B-356E-A152-66352483BB75}"/>
              </a:ext>
            </a:extLst>
          </p:cNvPr>
          <p:cNvSpPr/>
          <p:nvPr/>
        </p:nvSpPr>
        <p:spPr>
          <a:xfrm>
            <a:off x="4576911" y="182390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5C6A1A57-51B5-0584-5076-CE9BCDCE4ED9}"/>
              </a:ext>
            </a:extLst>
          </p:cNvPr>
          <p:cNvSpPr/>
          <p:nvPr/>
        </p:nvSpPr>
        <p:spPr>
          <a:xfrm>
            <a:off x="4576911" y="1491894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48D1E25B-131B-949B-3AC4-DEE7C13BBD3E}"/>
              </a:ext>
            </a:extLst>
          </p:cNvPr>
          <p:cNvSpPr/>
          <p:nvPr/>
        </p:nvSpPr>
        <p:spPr>
          <a:xfrm>
            <a:off x="4576911" y="251163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*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28FB0F40-039A-2845-C9FA-55FB9675757C}"/>
              </a:ext>
            </a:extLst>
          </p:cNvPr>
          <p:cNvSpPr/>
          <p:nvPr/>
        </p:nvSpPr>
        <p:spPr>
          <a:xfrm>
            <a:off x="4576911" y="216776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A36D42D4-558B-AB53-841F-C599DB467CB8}"/>
              </a:ext>
            </a:extLst>
          </p:cNvPr>
          <p:cNvSpPr/>
          <p:nvPr/>
        </p:nvSpPr>
        <p:spPr>
          <a:xfrm>
            <a:off x="4576911" y="3199363"/>
            <a:ext cx="29311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ED714B11-A384-A825-C328-E71AF13E5E28}"/>
              </a:ext>
            </a:extLst>
          </p:cNvPr>
          <p:cNvSpPr/>
          <p:nvPr/>
        </p:nvSpPr>
        <p:spPr>
          <a:xfrm>
            <a:off x="4576911" y="285549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887CB5D0-2F4A-6BB3-F530-E074AD3E9039}"/>
              </a:ext>
            </a:extLst>
          </p:cNvPr>
          <p:cNvSpPr/>
          <p:nvPr/>
        </p:nvSpPr>
        <p:spPr>
          <a:xfrm>
            <a:off x="4576911" y="3887092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C6BDABBC-F073-9821-015A-16DC46DCD89A}"/>
              </a:ext>
            </a:extLst>
          </p:cNvPr>
          <p:cNvSpPr/>
          <p:nvPr/>
        </p:nvSpPr>
        <p:spPr>
          <a:xfrm>
            <a:off x="4576911" y="3543228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0F64E945-FB70-0D05-3547-C32914F846B4}"/>
              </a:ext>
            </a:extLst>
          </p:cNvPr>
          <p:cNvSpPr/>
          <p:nvPr/>
        </p:nvSpPr>
        <p:spPr>
          <a:xfrm rot="5400000">
            <a:off x="4282497" y="833581"/>
            <a:ext cx="881944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 B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91AC5A6C-4102-BA31-36B1-08F601D85C69}"/>
              </a:ext>
            </a:extLst>
          </p:cNvPr>
          <p:cNvSpPr/>
          <p:nvPr/>
        </p:nvSpPr>
        <p:spPr>
          <a:xfrm>
            <a:off x="4919655" y="182390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832119CA-E4FA-A7CF-9F54-42775CB17F6C}"/>
              </a:ext>
            </a:extLst>
          </p:cNvPr>
          <p:cNvSpPr/>
          <p:nvPr/>
        </p:nvSpPr>
        <p:spPr>
          <a:xfrm>
            <a:off x="4919655" y="1491894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DC34880B-9757-6D1B-1B55-2A364855E04E}"/>
              </a:ext>
            </a:extLst>
          </p:cNvPr>
          <p:cNvSpPr/>
          <p:nvPr/>
        </p:nvSpPr>
        <p:spPr>
          <a:xfrm>
            <a:off x="4919655" y="2511633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5EC05854-06C9-AD62-03E9-4853EFAEE911}"/>
              </a:ext>
            </a:extLst>
          </p:cNvPr>
          <p:cNvSpPr/>
          <p:nvPr/>
        </p:nvSpPr>
        <p:spPr>
          <a:xfrm>
            <a:off x="4919655" y="2167768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7DB52189-B09B-D743-6142-7F68E16753E3}"/>
              </a:ext>
            </a:extLst>
          </p:cNvPr>
          <p:cNvSpPr/>
          <p:nvPr/>
        </p:nvSpPr>
        <p:spPr>
          <a:xfrm>
            <a:off x="4919655" y="3199363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C34BA7B6-BF1C-78D5-DE5A-8FA20BD4A8BD}"/>
              </a:ext>
            </a:extLst>
          </p:cNvPr>
          <p:cNvSpPr/>
          <p:nvPr/>
        </p:nvSpPr>
        <p:spPr>
          <a:xfrm>
            <a:off x="4919655" y="2855498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604F0602-ABE8-3115-915D-02828553E14B}"/>
              </a:ext>
            </a:extLst>
          </p:cNvPr>
          <p:cNvSpPr/>
          <p:nvPr/>
        </p:nvSpPr>
        <p:spPr>
          <a:xfrm>
            <a:off x="4919655" y="3887092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CC36660D-54C0-EEA8-D7E5-08ED5DDAC6F9}"/>
              </a:ext>
            </a:extLst>
          </p:cNvPr>
          <p:cNvSpPr/>
          <p:nvPr/>
        </p:nvSpPr>
        <p:spPr>
          <a:xfrm>
            <a:off x="4919655" y="3543228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CA560295-4611-A1CF-41D8-B83AECC51C52}"/>
              </a:ext>
            </a:extLst>
          </p:cNvPr>
          <p:cNvSpPr/>
          <p:nvPr/>
        </p:nvSpPr>
        <p:spPr>
          <a:xfrm rot="5400000">
            <a:off x="4625243" y="833581"/>
            <a:ext cx="881944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 C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3D788F86-1A1D-726A-C163-A1460F1B717E}"/>
              </a:ext>
            </a:extLst>
          </p:cNvPr>
          <p:cNvSpPr/>
          <p:nvPr/>
        </p:nvSpPr>
        <p:spPr>
          <a:xfrm rot="5400000">
            <a:off x="4972970" y="833580"/>
            <a:ext cx="881943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Pox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B001EE00-D541-2C3A-5958-8CA676B98CFD}"/>
              </a:ext>
            </a:extLst>
          </p:cNvPr>
          <p:cNvSpPr/>
          <p:nvPr/>
        </p:nvSpPr>
        <p:spPr>
          <a:xfrm>
            <a:off x="5267385" y="1823901"/>
            <a:ext cx="293114" cy="293999"/>
          </a:xfrm>
          <a:prstGeom prst="rect">
            <a:avLst/>
          </a:prstGeom>
          <a:solidFill>
            <a:srgbClr val="B5CF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9E6FA7C1-8012-39D4-56CA-9D0E10FBFFF3}"/>
              </a:ext>
            </a:extLst>
          </p:cNvPr>
          <p:cNvSpPr/>
          <p:nvPr/>
        </p:nvSpPr>
        <p:spPr>
          <a:xfrm>
            <a:off x="5262400" y="1487604"/>
            <a:ext cx="293114" cy="302824"/>
          </a:xfrm>
          <a:prstGeom prst="rect">
            <a:avLst/>
          </a:prstGeom>
          <a:solidFill>
            <a:srgbClr val="AFC88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545FCC94-FF6C-4583-2C18-6086B9D8995D}"/>
              </a:ext>
            </a:extLst>
          </p:cNvPr>
          <p:cNvSpPr/>
          <p:nvPr/>
        </p:nvSpPr>
        <p:spPr>
          <a:xfrm>
            <a:off x="5267385" y="2511631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-</a:t>
            </a:r>
            <a:endParaRPr lang="en-US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BCECF161-AF65-A375-58AF-F192245CCA54}"/>
              </a:ext>
            </a:extLst>
          </p:cNvPr>
          <p:cNvSpPr/>
          <p:nvPr/>
        </p:nvSpPr>
        <p:spPr>
          <a:xfrm>
            <a:off x="5267385" y="2167766"/>
            <a:ext cx="293114" cy="293999"/>
          </a:xfrm>
          <a:prstGeom prst="rect">
            <a:avLst/>
          </a:prstGeom>
          <a:solidFill>
            <a:srgbClr val="B5CD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18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71E8970D-714D-FF7C-6405-F69F402907D2}"/>
              </a:ext>
            </a:extLst>
          </p:cNvPr>
          <p:cNvSpPr/>
          <p:nvPr/>
        </p:nvSpPr>
        <p:spPr>
          <a:xfrm>
            <a:off x="5267385" y="3199360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8474C200-0D7E-E0CE-6B19-5C34491F40D3}"/>
              </a:ext>
            </a:extLst>
          </p:cNvPr>
          <p:cNvSpPr/>
          <p:nvPr/>
        </p:nvSpPr>
        <p:spPr>
          <a:xfrm>
            <a:off x="5267385" y="2855495"/>
            <a:ext cx="29311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B48F7F8B-8FF3-6E32-3BE7-422CD6EFD165}"/>
              </a:ext>
            </a:extLst>
          </p:cNvPr>
          <p:cNvSpPr/>
          <p:nvPr/>
        </p:nvSpPr>
        <p:spPr>
          <a:xfrm>
            <a:off x="5267385" y="3887090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BAC74461-830B-659E-8080-4E6B0280337B}"/>
              </a:ext>
            </a:extLst>
          </p:cNvPr>
          <p:cNvSpPr/>
          <p:nvPr/>
        </p:nvSpPr>
        <p:spPr>
          <a:xfrm>
            <a:off x="5267385" y="3543225"/>
            <a:ext cx="293114" cy="293999"/>
          </a:xfrm>
          <a:prstGeom prst="rect">
            <a:avLst/>
          </a:prstGeom>
          <a:solidFill>
            <a:srgbClr val="B5CE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158847B6-963B-54BD-6187-21E7143E7488}"/>
              </a:ext>
            </a:extLst>
          </p:cNvPr>
          <p:cNvSpPr/>
          <p:nvPr/>
        </p:nvSpPr>
        <p:spPr>
          <a:xfrm>
            <a:off x="1163875" y="1831941"/>
            <a:ext cx="278711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27E34480-2FD8-61FA-C4BD-36EB03D6F0A4}"/>
              </a:ext>
            </a:extLst>
          </p:cNvPr>
          <p:cNvSpPr/>
          <p:nvPr/>
        </p:nvSpPr>
        <p:spPr>
          <a:xfrm>
            <a:off x="1163873" y="1489567"/>
            <a:ext cx="278713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A931C8CF-C8EA-D8AE-89A7-53E27D769CF7}"/>
              </a:ext>
            </a:extLst>
          </p:cNvPr>
          <p:cNvSpPr/>
          <p:nvPr/>
        </p:nvSpPr>
        <p:spPr>
          <a:xfrm>
            <a:off x="1163873" y="2516687"/>
            <a:ext cx="278713" cy="293999"/>
          </a:xfrm>
          <a:prstGeom prst="rect">
            <a:avLst/>
          </a:prstGeom>
          <a:solidFill>
            <a:srgbClr val="00B050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A26CF90-6604-F2E7-E83A-EF339003C774}"/>
              </a:ext>
            </a:extLst>
          </p:cNvPr>
          <p:cNvSpPr/>
          <p:nvPr/>
        </p:nvSpPr>
        <p:spPr>
          <a:xfrm>
            <a:off x="1163875" y="2174313"/>
            <a:ext cx="278711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ADAC6174-F8D8-844E-3962-F7CAF7085865}"/>
              </a:ext>
            </a:extLst>
          </p:cNvPr>
          <p:cNvSpPr/>
          <p:nvPr/>
        </p:nvSpPr>
        <p:spPr>
          <a:xfrm>
            <a:off x="1163873" y="3201433"/>
            <a:ext cx="278713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B65BC921-2A7D-C7C2-8C9C-0D38B764A4E7}"/>
              </a:ext>
            </a:extLst>
          </p:cNvPr>
          <p:cNvSpPr/>
          <p:nvPr/>
        </p:nvSpPr>
        <p:spPr>
          <a:xfrm>
            <a:off x="1163875" y="2859061"/>
            <a:ext cx="278711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78A2C37B-73E5-64A3-5F67-39526CFEA0A9}"/>
              </a:ext>
            </a:extLst>
          </p:cNvPr>
          <p:cNvSpPr/>
          <p:nvPr/>
        </p:nvSpPr>
        <p:spPr>
          <a:xfrm>
            <a:off x="1163875" y="3886181"/>
            <a:ext cx="278711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9CA8C287-D820-CC3B-6C47-64C5FEDB608D}"/>
              </a:ext>
            </a:extLst>
          </p:cNvPr>
          <p:cNvSpPr/>
          <p:nvPr/>
        </p:nvSpPr>
        <p:spPr>
          <a:xfrm>
            <a:off x="1163875" y="3543807"/>
            <a:ext cx="278711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endParaRPr lang="en-AU" sz="1200" b="1" baseline="300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44C3DF23-7C75-6EEC-4342-696762BB5B0F}"/>
              </a:ext>
            </a:extLst>
          </p:cNvPr>
          <p:cNvSpPr/>
          <p:nvPr/>
        </p:nvSpPr>
        <p:spPr>
          <a:xfrm rot="5400000">
            <a:off x="862256" y="840783"/>
            <a:ext cx="881947" cy="278713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TP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F8C54A7C-E60F-BB22-2C61-7E25EFB25499}"/>
              </a:ext>
            </a:extLst>
          </p:cNvPr>
          <p:cNvSpPr/>
          <p:nvPr/>
        </p:nvSpPr>
        <p:spPr>
          <a:xfrm>
            <a:off x="5613409" y="1826244"/>
            <a:ext cx="289830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 / 70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F63E813B-2CF5-9B44-F6D0-5D28C1221172}"/>
              </a:ext>
            </a:extLst>
          </p:cNvPr>
          <p:cNvSpPr/>
          <p:nvPr/>
        </p:nvSpPr>
        <p:spPr>
          <a:xfrm>
            <a:off x="5613409" y="1482379"/>
            <a:ext cx="289830" cy="302756"/>
          </a:xfrm>
          <a:prstGeom prst="rect">
            <a:avLst/>
          </a:prstGeom>
          <a:solidFill>
            <a:srgbClr val="00B1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 / 70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C697702A-7DB7-4C22-6679-F96E1FA54D4C}"/>
              </a:ext>
            </a:extLst>
          </p:cNvPr>
          <p:cNvSpPr/>
          <p:nvPr/>
        </p:nvSpPr>
        <p:spPr>
          <a:xfrm>
            <a:off x="5613409" y="2513974"/>
            <a:ext cx="289830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860B9DA4-8F80-0AFD-EA1D-B6E03DDDB0A4}"/>
              </a:ext>
            </a:extLst>
          </p:cNvPr>
          <p:cNvSpPr/>
          <p:nvPr/>
        </p:nvSpPr>
        <p:spPr>
          <a:xfrm>
            <a:off x="5613409" y="2170109"/>
            <a:ext cx="289830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A14E7C40-AB5A-9A41-3AC5-ECFDAB4A6893}"/>
              </a:ext>
            </a:extLst>
          </p:cNvPr>
          <p:cNvSpPr/>
          <p:nvPr/>
        </p:nvSpPr>
        <p:spPr>
          <a:xfrm>
            <a:off x="5613409" y="3201704"/>
            <a:ext cx="289830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A28DBEBB-02C5-5B39-033B-6FEBBCCEC7BF}"/>
              </a:ext>
            </a:extLst>
          </p:cNvPr>
          <p:cNvSpPr/>
          <p:nvPr/>
        </p:nvSpPr>
        <p:spPr>
          <a:xfrm>
            <a:off x="5613409" y="2857839"/>
            <a:ext cx="289830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45BCA890-515D-8616-39A1-FEED22B3535B}"/>
              </a:ext>
            </a:extLst>
          </p:cNvPr>
          <p:cNvSpPr/>
          <p:nvPr/>
        </p:nvSpPr>
        <p:spPr>
          <a:xfrm>
            <a:off x="5613409" y="3889433"/>
            <a:ext cx="289830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AFDA2E59-08A5-9B88-2439-20683243709B}"/>
              </a:ext>
            </a:extLst>
          </p:cNvPr>
          <p:cNvSpPr/>
          <p:nvPr/>
        </p:nvSpPr>
        <p:spPr>
          <a:xfrm>
            <a:off x="5613409" y="3545569"/>
            <a:ext cx="289830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endParaRPr lang="en-AU" sz="1200" b="1" baseline="300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3BC9A2-4D5F-BE9C-A7BF-B229659C44D7}"/>
              </a:ext>
            </a:extLst>
          </p:cNvPr>
          <p:cNvSpPr/>
          <p:nvPr/>
        </p:nvSpPr>
        <p:spPr>
          <a:xfrm rot="5400000">
            <a:off x="5313446" y="835847"/>
            <a:ext cx="883191" cy="289830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neumo-</a:t>
            </a:r>
          </a:p>
          <a:p>
            <a:pPr defTabSz="914198">
              <a:defRPr/>
            </a:pPr>
            <a:r>
              <a:rPr lang="en-US" sz="1000" b="1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ccal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3FAD5B8-806B-4AAE-A84A-C6B4C5849A1E}"/>
              </a:ext>
            </a:extLst>
          </p:cNvPr>
          <p:cNvSpPr/>
          <p:nvPr/>
        </p:nvSpPr>
        <p:spPr>
          <a:xfrm>
            <a:off x="821128" y="1832399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C596CBB-24D9-6323-C4B7-5BEEF4540B8F}"/>
              </a:ext>
            </a:extLst>
          </p:cNvPr>
          <p:cNvSpPr/>
          <p:nvPr/>
        </p:nvSpPr>
        <p:spPr>
          <a:xfrm>
            <a:off x="821128" y="148979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C0C43A9-6C1B-F778-A1A0-A448F2B8CFFF}"/>
              </a:ext>
            </a:extLst>
          </p:cNvPr>
          <p:cNvSpPr/>
          <p:nvPr/>
        </p:nvSpPr>
        <p:spPr>
          <a:xfrm>
            <a:off x="821128" y="2517603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2E49493-AFF8-7487-B030-6491A2CD3B97}"/>
              </a:ext>
            </a:extLst>
          </p:cNvPr>
          <p:cNvSpPr/>
          <p:nvPr/>
        </p:nvSpPr>
        <p:spPr>
          <a:xfrm>
            <a:off x="821128" y="2175002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212DDA5-1B3F-E1BA-015A-381D0CA8FF9E}"/>
              </a:ext>
            </a:extLst>
          </p:cNvPr>
          <p:cNvSpPr/>
          <p:nvPr/>
        </p:nvSpPr>
        <p:spPr>
          <a:xfrm>
            <a:off x="821128" y="3202807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C11ABB0-E410-A0A2-D856-27ACAC9F87ED}"/>
              </a:ext>
            </a:extLst>
          </p:cNvPr>
          <p:cNvSpPr/>
          <p:nvPr/>
        </p:nvSpPr>
        <p:spPr>
          <a:xfrm>
            <a:off x="821128" y="2860204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291364A-55DF-B861-30A4-49BE287D2641}"/>
              </a:ext>
            </a:extLst>
          </p:cNvPr>
          <p:cNvSpPr/>
          <p:nvPr/>
        </p:nvSpPr>
        <p:spPr>
          <a:xfrm>
            <a:off x="821128" y="388800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C49D799-6231-D951-0DDA-5D715AF02961}"/>
              </a:ext>
            </a:extLst>
          </p:cNvPr>
          <p:cNvSpPr/>
          <p:nvPr/>
        </p:nvSpPr>
        <p:spPr>
          <a:xfrm>
            <a:off x="821128" y="3545407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endParaRPr lang="en-US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914198">
              <a:defRPr/>
            </a:pP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3FA543F-DD39-AEF7-8F9A-6CD4D9E61D0D}"/>
              </a:ext>
            </a:extLst>
          </p:cNvPr>
          <p:cNvSpPr/>
          <p:nvPr/>
        </p:nvSpPr>
        <p:spPr>
          <a:xfrm rot="5400000">
            <a:off x="526092" y="834204"/>
            <a:ext cx="883188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59B4EE9A-9DD6-EFB9-B5E4-9C8F59E6AB5C}"/>
              </a:ext>
            </a:extLst>
          </p:cNvPr>
          <p:cNvSpPr/>
          <p:nvPr/>
        </p:nvSpPr>
        <p:spPr>
          <a:xfrm rot="5400000">
            <a:off x="183347" y="834202"/>
            <a:ext cx="883188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lera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530C422A-8198-6735-93DF-E26E2E695FAB}"/>
              </a:ext>
            </a:extLst>
          </p:cNvPr>
          <p:cNvSpPr/>
          <p:nvPr/>
        </p:nvSpPr>
        <p:spPr>
          <a:xfrm>
            <a:off x="478385" y="1832397"/>
            <a:ext cx="290853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1D4673B-9FB6-8316-2AF1-1939BE3E2399}"/>
              </a:ext>
            </a:extLst>
          </p:cNvPr>
          <p:cNvSpPr/>
          <p:nvPr/>
        </p:nvSpPr>
        <p:spPr>
          <a:xfrm>
            <a:off x="478385" y="1489796"/>
            <a:ext cx="290853" cy="29399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noFill/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C48DF761-E5F2-6915-3653-EDCB474ACAD3}"/>
              </a:ext>
            </a:extLst>
          </p:cNvPr>
          <p:cNvSpPr/>
          <p:nvPr/>
        </p:nvSpPr>
        <p:spPr>
          <a:xfrm>
            <a:off x="478384" y="2517601"/>
            <a:ext cx="289829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2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D72D1CFB-8EAE-7146-146E-7B8930659841}"/>
              </a:ext>
            </a:extLst>
          </p:cNvPr>
          <p:cNvSpPr/>
          <p:nvPr/>
        </p:nvSpPr>
        <p:spPr>
          <a:xfrm>
            <a:off x="478384" y="2175000"/>
            <a:ext cx="289829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52ECFA5-7D67-32D6-7C3E-AB09405DF76E}"/>
              </a:ext>
            </a:extLst>
          </p:cNvPr>
          <p:cNvSpPr/>
          <p:nvPr/>
        </p:nvSpPr>
        <p:spPr>
          <a:xfrm>
            <a:off x="478385" y="3202805"/>
            <a:ext cx="290853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6AA00054-744B-5AB5-4F4F-02C5AB4D7BA8}"/>
              </a:ext>
            </a:extLst>
          </p:cNvPr>
          <p:cNvSpPr/>
          <p:nvPr/>
        </p:nvSpPr>
        <p:spPr>
          <a:xfrm>
            <a:off x="478384" y="2860202"/>
            <a:ext cx="289829" cy="293999"/>
          </a:xfrm>
          <a:prstGeom prst="rect">
            <a:avLst/>
          </a:prstGeom>
          <a:solidFill>
            <a:srgbClr val="A6A6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DA192DF0-6F45-0119-5EF2-DF4FDA474B38}"/>
              </a:ext>
            </a:extLst>
          </p:cNvPr>
          <p:cNvSpPr/>
          <p:nvPr/>
        </p:nvSpPr>
        <p:spPr>
          <a:xfrm>
            <a:off x="478384" y="3888006"/>
            <a:ext cx="289829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DA3911A0-9579-803A-D727-8361E80099CD}"/>
              </a:ext>
            </a:extLst>
          </p:cNvPr>
          <p:cNvSpPr/>
          <p:nvPr/>
        </p:nvSpPr>
        <p:spPr>
          <a:xfrm>
            <a:off x="478385" y="3545406"/>
            <a:ext cx="290853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2B3DE3F1-F666-CE33-6AE8-924CBB986D3D}"/>
              </a:ext>
            </a:extLst>
          </p:cNvPr>
          <p:cNvSpPr/>
          <p:nvPr/>
        </p:nvSpPr>
        <p:spPr>
          <a:xfrm rot="5400000">
            <a:off x="5658455" y="833580"/>
            <a:ext cx="881943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o</a:t>
            </a: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BD92031B-AAFB-BB6D-8CD5-64E7283DA850}"/>
              </a:ext>
            </a:extLst>
          </p:cNvPr>
          <p:cNvSpPr/>
          <p:nvPr/>
        </p:nvSpPr>
        <p:spPr>
          <a:xfrm>
            <a:off x="5952868" y="1824820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9C4BBD11-18AB-B7BA-4EDA-B5647338F38E}"/>
              </a:ext>
            </a:extLst>
          </p:cNvPr>
          <p:cNvSpPr/>
          <p:nvPr/>
        </p:nvSpPr>
        <p:spPr>
          <a:xfrm>
            <a:off x="5952868" y="1486786"/>
            <a:ext cx="293114" cy="300025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43BA0020-0A0C-24AA-1057-63D3E31390C8}"/>
              </a:ext>
            </a:extLst>
          </p:cNvPr>
          <p:cNvSpPr/>
          <p:nvPr/>
        </p:nvSpPr>
        <p:spPr>
          <a:xfrm>
            <a:off x="5952868" y="2512550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105D6116-6FA6-F3D9-F5DA-63DDFB995887}"/>
              </a:ext>
            </a:extLst>
          </p:cNvPr>
          <p:cNvSpPr/>
          <p:nvPr/>
        </p:nvSpPr>
        <p:spPr>
          <a:xfrm>
            <a:off x="5952868" y="2168685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F8E6CC33-1724-5C6D-4F2A-150A7D366C93}"/>
              </a:ext>
            </a:extLst>
          </p:cNvPr>
          <p:cNvSpPr/>
          <p:nvPr/>
        </p:nvSpPr>
        <p:spPr>
          <a:xfrm>
            <a:off x="5952868" y="3200279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304464C8-08BA-3471-515A-72C532A78C07}"/>
              </a:ext>
            </a:extLst>
          </p:cNvPr>
          <p:cNvSpPr/>
          <p:nvPr/>
        </p:nvSpPr>
        <p:spPr>
          <a:xfrm>
            <a:off x="5952868" y="2856415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0B39E226-C33B-424A-A5E1-15EFB4B98F2C}"/>
              </a:ext>
            </a:extLst>
          </p:cNvPr>
          <p:cNvSpPr/>
          <p:nvPr/>
        </p:nvSpPr>
        <p:spPr>
          <a:xfrm>
            <a:off x="5952868" y="3888009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3A5EC309-D727-CC3E-9545-EBEE528B5EDC}"/>
              </a:ext>
            </a:extLst>
          </p:cNvPr>
          <p:cNvSpPr/>
          <p:nvPr/>
        </p:nvSpPr>
        <p:spPr>
          <a:xfrm>
            <a:off x="5952868" y="3544144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</a:t>
            </a:r>
            <a:endParaRPr lang="en-AU" sz="1200" b="1" baseline="300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AC139CE-6A9D-229C-7904-36C905D612FD}"/>
              </a:ext>
            </a:extLst>
          </p:cNvPr>
          <p:cNvSpPr/>
          <p:nvPr/>
        </p:nvSpPr>
        <p:spPr>
          <a:xfrm rot="5400000">
            <a:off x="7043836" y="833582"/>
            <a:ext cx="881945" cy="293115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SV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C727BF6E-1BEC-0A66-F4E2-1E270D15C428}"/>
              </a:ext>
            </a:extLst>
          </p:cNvPr>
          <p:cNvSpPr/>
          <p:nvPr/>
        </p:nvSpPr>
        <p:spPr>
          <a:xfrm>
            <a:off x="7341414" y="1825286"/>
            <a:ext cx="293112" cy="292881"/>
          </a:xfrm>
          <a:prstGeom prst="rect">
            <a:avLst/>
          </a:prstGeom>
          <a:solidFill>
            <a:srgbClr val="00B1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 / </a:t>
            </a:r>
            <a:b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^</a:t>
            </a:r>
            <a:endParaRPr lang="en-AU" sz="10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451312D-E1E6-817B-4DA5-AF23CA293A9A}"/>
              </a:ext>
            </a:extLst>
          </p:cNvPr>
          <p:cNvSpPr/>
          <p:nvPr/>
        </p:nvSpPr>
        <p:spPr>
          <a:xfrm>
            <a:off x="7341414" y="1485388"/>
            <a:ext cx="293112" cy="300025"/>
          </a:xfrm>
          <a:prstGeom prst="rect">
            <a:avLst/>
          </a:prstGeom>
          <a:solidFill>
            <a:srgbClr val="00B15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 /</a:t>
            </a: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</a:t>
            </a: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^</a:t>
            </a: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48DCCC6-876C-A9E6-6DE1-E51F4C453559}"/>
              </a:ext>
            </a:extLst>
          </p:cNvPr>
          <p:cNvSpPr/>
          <p:nvPr/>
        </p:nvSpPr>
        <p:spPr>
          <a:xfrm>
            <a:off x="7341414" y="2510402"/>
            <a:ext cx="293112" cy="292881"/>
          </a:xfrm>
          <a:prstGeom prst="rect">
            <a:avLst/>
          </a:prstGeom>
          <a:solidFill>
            <a:srgbClr val="00B1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/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6D3E35D-2A55-94F3-BAB4-5758C5A86085}"/>
              </a:ext>
            </a:extLst>
          </p:cNvPr>
          <p:cNvSpPr/>
          <p:nvPr/>
        </p:nvSpPr>
        <p:spPr>
          <a:xfrm>
            <a:off x="7341414" y="2174645"/>
            <a:ext cx="293112" cy="292881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D902FD8-3362-F3C8-2024-C356B5BDAF22}"/>
              </a:ext>
            </a:extLst>
          </p:cNvPr>
          <p:cNvSpPr/>
          <p:nvPr/>
        </p:nvSpPr>
        <p:spPr>
          <a:xfrm>
            <a:off x="7341414" y="3195518"/>
            <a:ext cx="293112" cy="292881"/>
          </a:xfrm>
          <a:prstGeom prst="rect">
            <a:avLst/>
          </a:prstGeom>
          <a:solidFill>
            <a:srgbClr val="00B1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5CA6F4F9-9CEB-081E-7416-D69B5ACCB531}"/>
              </a:ext>
            </a:extLst>
          </p:cNvPr>
          <p:cNvSpPr/>
          <p:nvPr/>
        </p:nvSpPr>
        <p:spPr>
          <a:xfrm>
            <a:off x="7341414" y="2852960"/>
            <a:ext cx="293112" cy="292881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18C46A3-8C34-1270-B9E4-CE8873DD13B4}"/>
              </a:ext>
            </a:extLst>
          </p:cNvPr>
          <p:cNvSpPr/>
          <p:nvPr/>
        </p:nvSpPr>
        <p:spPr>
          <a:xfrm>
            <a:off x="7341414" y="3886184"/>
            <a:ext cx="293112" cy="292881"/>
          </a:xfrm>
          <a:prstGeom prst="rect">
            <a:avLst/>
          </a:prstGeom>
          <a:solidFill>
            <a:srgbClr val="00B1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3FF58-6E42-FA0C-BD16-E16882A76E0E}"/>
              </a:ext>
            </a:extLst>
          </p:cNvPr>
          <p:cNvSpPr/>
          <p:nvPr/>
        </p:nvSpPr>
        <p:spPr>
          <a:xfrm>
            <a:off x="7341414" y="3538076"/>
            <a:ext cx="293112" cy="292881"/>
          </a:xfrm>
          <a:prstGeom prst="rect">
            <a:avLst/>
          </a:prstGeom>
          <a:solidFill>
            <a:srgbClr val="00B1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03EB441-3AE7-C064-3A06-B69DBCBFFB85}"/>
              </a:ext>
            </a:extLst>
          </p:cNvPr>
          <p:cNvSpPr/>
          <p:nvPr/>
        </p:nvSpPr>
        <p:spPr>
          <a:xfrm rot="5400000">
            <a:off x="8100145" y="825024"/>
            <a:ext cx="864823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cell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0CB5A4D-D921-FF20-A949-A0A2A1112501}"/>
              </a:ext>
            </a:extLst>
          </p:cNvPr>
          <p:cNvSpPr/>
          <p:nvPr/>
        </p:nvSpPr>
        <p:spPr>
          <a:xfrm>
            <a:off x="8390164" y="1819804"/>
            <a:ext cx="293114" cy="288023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2C55332-B5CC-4C6C-D0AB-E99982E4C5BD}"/>
              </a:ext>
            </a:extLst>
          </p:cNvPr>
          <p:cNvSpPr/>
          <p:nvPr/>
        </p:nvSpPr>
        <p:spPr>
          <a:xfrm>
            <a:off x="8390164" y="1484108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582A74-763D-72A2-5863-CCD9A5568DA3}"/>
              </a:ext>
            </a:extLst>
          </p:cNvPr>
          <p:cNvSpPr/>
          <p:nvPr/>
        </p:nvSpPr>
        <p:spPr>
          <a:xfrm>
            <a:off x="8395585" y="2521668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97E377C-0EE3-A8FE-E366-67E51C8F326B}"/>
              </a:ext>
            </a:extLst>
          </p:cNvPr>
          <p:cNvSpPr/>
          <p:nvPr/>
        </p:nvSpPr>
        <p:spPr>
          <a:xfrm>
            <a:off x="8390164" y="2157694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7A6B9F0-ABD0-F08B-84A2-18D5C49F4548}"/>
              </a:ext>
            </a:extLst>
          </p:cNvPr>
          <p:cNvSpPr/>
          <p:nvPr/>
        </p:nvSpPr>
        <p:spPr>
          <a:xfrm>
            <a:off x="8390164" y="3189288"/>
            <a:ext cx="293114" cy="2939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E95D169-8A1F-2DD7-2983-87A78A859C6C}"/>
              </a:ext>
            </a:extLst>
          </p:cNvPr>
          <p:cNvSpPr/>
          <p:nvPr/>
        </p:nvSpPr>
        <p:spPr>
          <a:xfrm>
            <a:off x="8390164" y="2845423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6D3D170-094E-7110-9E1C-2FA1B0C0FFF6}"/>
              </a:ext>
            </a:extLst>
          </p:cNvPr>
          <p:cNvSpPr/>
          <p:nvPr/>
        </p:nvSpPr>
        <p:spPr>
          <a:xfrm>
            <a:off x="8391409" y="3885068"/>
            <a:ext cx="293114" cy="293999"/>
          </a:xfrm>
          <a:prstGeom prst="rect">
            <a:avLst/>
          </a:prstGeom>
          <a:solidFill>
            <a:srgbClr val="00B050"/>
          </a:solidFill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9353486-7DFA-93F2-AE5D-48711020E881}"/>
              </a:ext>
            </a:extLst>
          </p:cNvPr>
          <p:cNvSpPr/>
          <p:nvPr/>
        </p:nvSpPr>
        <p:spPr>
          <a:xfrm rot="5400000">
            <a:off x="7751313" y="831109"/>
            <a:ext cx="876995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hoi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B3FE21D-6EEA-2778-854E-CF7E5DECF026}"/>
              </a:ext>
            </a:extLst>
          </p:cNvPr>
          <p:cNvSpPr/>
          <p:nvPr/>
        </p:nvSpPr>
        <p:spPr>
          <a:xfrm>
            <a:off x="8043253" y="1835801"/>
            <a:ext cx="293114" cy="28802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3C1546D-EF14-D498-F597-555E63CDC401}"/>
              </a:ext>
            </a:extLst>
          </p:cNvPr>
          <p:cNvSpPr/>
          <p:nvPr/>
        </p:nvSpPr>
        <p:spPr>
          <a:xfrm>
            <a:off x="8043253" y="1484547"/>
            <a:ext cx="29311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5D89DE4-C331-323E-4FD9-64A2580E90A1}"/>
              </a:ext>
            </a:extLst>
          </p:cNvPr>
          <p:cNvSpPr/>
          <p:nvPr/>
        </p:nvSpPr>
        <p:spPr>
          <a:xfrm>
            <a:off x="8043253" y="2516134"/>
            <a:ext cx="29311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D261416-0889-89B6-3763-E3ED2EE1CA06}"/>
              </a:ext>
            </a:extLst>
          </p:cNvPr>
          <p:cNvSpPr/>
          <p:nvPr/>
        </p:nvSpPr>
        <p:spPr>
          <a:xfrm>
            <a:off x="8043253" y="2158132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8CB509D-C971-2647-DC7A-14AADA1517AD}"/>
              </a:ext>
            </a:extLst>
          </p:cNvPr>
          <p:cNvSpPr/>
          <p:nvPr/>
        </p:nvSpPr>
        <p:spPr>
          <a:xfrm>
            <a:off x="8043253" y="3189727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E952FCE-F1B4-4571-C020-C91EF67E6595}"/>
              </a:ext>
            </a:extLst>
          </p:cNvPr>
          <p:cNvSpPr/>
          <p:nvPr/>
        </p:nvSpPr>
        <p:spPr>
          <a:xfrm>
            <a:off x="8043253" y="2845862"/>
            <a:ext cx="293114" cy="293999"/>
          </a:xfrm>
          <a:prstGeom prst="rect">
            <a:avLst/>
          </a:prstGeom>
          <a:solidFill>
            <a:srgbClr val="A6A6A6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16BB4F9-4D04-DA17-A21F-42945FF526ED}"/>
              </a:ext>
            </a:extLst>
          </p:cNvPr>
          <p:cNvSpPr/>
          <p:nvPr/>
        </p:nvSpPr>
        <p:spPr>
          <a:xfrm>
            <a:off x="8043253" y="3547736"/>
            <a:ext cx="293114" cy="293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AU" sz="1200" b="1" baseline="30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56423C7-1456-D7B2-F3E7-1A1999B22D7E}"/>
              </a:ext>
            </a:extLst>
          </p:cNvPr>
          <p:cNvSpPr/>
          <p:nvPr/>
        </p:nvSpPr>
        <p:spPr>
          <a:xfrm>
            <a:off x="8387604" y="3542468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78ABA8F-142B-73E9-9377-3A32204F23BE}"/>
              </a:ext>
            </a:extLst>
          </p:cNvPr>
          <p:cNvSpPr/>
          <p:nvPr/>
        </p:nvSpPr>
        <p:spPr>
          <a:xfrm>
            <a:off x="8048667" y="3885068"/>
            <a:ext cx="293114" cy="293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4B6A6A1A-9CE7-8770-25F4-DA0FFB9F82E2}"/>
              </a:ext>
            </a:extLst>
          </p:cNvPr>
          <p:cNvSpPr/>
          <p:nvPr/>
        </p:nvSpPr>
        <p:spPr>
          <a:xfrm>
            <a:off x="6993353" y="1828358"/>
            <a:ext cx="29085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AU" sz="1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0D826A50-424B-E314-50DD-6D43048CF47A}"/>
              </a:ext>
            </a:extLst>
          </p:cNvPr>
          <p:cNvSpPr/>
          <p:nvPr/>
        </p:nvSpPr>
        <p:spPr>
          <a:xfrm>
            <a:off x="6993353" y="1485757"/>
            <a:ext cx="29085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noFill/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C226C75D-2153-35ED-40D5-7E6E88249235}"/>
              </a:ext>
            </a:extLst>
          </p:cNvPr>
          <p:cNvSpPr/>
          <p:nvPr/>
        </p:nvSpPr>
        <p:spPr>
          <a:xfrm>
            <a:off x="6993353" y="2513562"/>
            <a:ext cx="289829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FD57861F-9F51-62FB-B645-B254B21D9D34}"/>
              </a:ext>
            </a:extLst>
          </p:cNvPr>
          <p:cNvSpPr/>
          <p:nvPr/>
        </p:nvSpPr>
        <p:spPr>
          <a:xfrm>
            <a:off x="6993353" y="2170961"/>
            <a:ext cx="289829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09DB7331-5664-2D53-9AD3-6FA27BB54BA8}"/>
              </a:ext>
            </a:extLst>
          </p:cNvPr>
          <p:cNvSpPr/>
          <p:nvPr/>
        </p:nvSpPr>
        <p:spPr>
          <a:xfrm>
            <a:off x="6993353" y="3198766"/>
            <a:ext cx="29085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8" name="Rectangle 277">
            <a:extLst>
              <a:ext uri="{FF2B5EF4-FFF2-40B4-BE49-F238E27FC236}">
                <a16:creationId xmlns:a16="http://schemas.microsoft.com/office/drawing/2014/main" id="{1B1163BE-204C-A860-443B-FC36215BDFC7}"/>
              </a:ext>
            </a:extLst>
          </p:cNvPr>
          <p:cNvSpPr/>
          <p:nvPr/>
        </p:nvSpPr>
        <p:spPr>
          <a:xfrm>
            <a:off x="6993353" y="3883967"/>
            <a:ext cx="289829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4CEE0111-A30E-D901-B624-87F8E184D449}"/>
              </a:ext>
            </a:extLst>
          </p:cNvPr>
          <p:cNvSpPr/>
          <p:nvPr/>
        </p:nvSpPr>
        <p:spPr>
          <a:xfrm rot="5400000">
            <a:off x="6698316" y="830164"/>
            <a:ext cx="883190" cy="293115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US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tavirus</a:t>
            </a:r>
            <a:endParaRPr lang="en-AU" sz="1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0" name="Rectangle 279">
            <a:extLst>
              <a:ext uri="{FF2B5EF4-FFF2-40B4-BE49-F238E27FC236}">
                <a16:creationId xmlns:a16="http://schemas.microsoft.com/office/drawing/2014/main" id="{97B96349-4D42-66A3-48C8-F8BF606E077B}"/>
              </a:ext>
            </a:extLst>
          </p:cNvPr>
          <p:cNvSpPr/>
          <p:nvPr/>
        </p:nvSpPr>
        <p:spPr>
          <a:xfrm>
            <a:off x="6993353" y="3541367"/>
            <a:ext cx="29085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BD7E10E4-3FA2-977E-8890-0006F1FF222F}"/>
              </a:ext>
            </a:extLst>
          </p:cNvPr>
          <p:cNvSpPr/>
          <p:nvPr/>
        </p:nvSpPr>
        <p:spPr>
          <a:xfrm rot="5400000">
            <a:off x="6002438" y="832480"/>
            <a:ext cx="881945" cy="293115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 fever</a:t>
            </a: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A29FF9A1-F301-0A79-D2DD-A8365D7D4331}"/>
              </a:ext>
            </a:extLst>
          </p:cNvPr>
          <p:cNvSpPr/>
          <p:nvPr/>
        </p:nvSpPr>
        <p:spPr>
          <a:xfrm>
            <a:off x="6300016" y="1824185"/>
            <a:ext cx="293112" cy="292881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DBD1E687-D8BA-1AA5-AEBF-A8E987BF7A5D}"/>
              </a:ext>
            </a:extLst>
          </p:cNvPr>
          <p:cNvSpPr/>
          <p:nvPr/>
        </p:nvSpPr>
        <p:spPr>
          <a:xfrm>
            <a:off x="6300016" y="1484286"/>
            <a:ext cx="293112" cy="300025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0096959D-F8A4-C5CC-47FA-3CA0C98FF03D}"/>
              </a:ext>
            </a:extLst>
          </p:cNvPr>
          <p:cNvSpPr/>
          <p:nvPr/>
        </p:nvSpPr>
        <p:spPr>
          <a:xfrm>
            <a:off x="6300016" y="2509301"/>
            <a:ext cx="293112" cy="292881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/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D59D3CC4-3D79-9305-D47E-BCE11805C787}"/>
              </a:ext>
            </a:extLst>
          </p:cNvPr>
          <p:cNvSpPr/>
          <p:nvPr/>
        </p:nvSpPr>
        <p:spPr>
          <a:xfrm>
            <a:off x="6300016" y="2173543"/>
            <a:ext cx="293112" cy="292881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E15DF7AA-B2EA-2357-71E7-A0CE33BC036C}"/>
              </a:ext>
            </a:extLst>
          </p:cNvPr>
          <p:cNvSpPr/>
          <p:nvPr/>
        </p:nvSpPr>
        <p:spPr>
          <a:xfrm>
            <a:off x="6300016" y="3194417"/>
            <a:ext cx="293112" cy="292881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88" name="Rectangle 287">
            <a:extLst>
              <a:ext uri="{FF2B5EF4-FFF2-40B4-BE49-F238E27FC236}">
                <a16:creationId xmlns:a16="http://schemas.microsoft.com/office/drawing/2014/main" id="{C524A33D-042B-16DA-AFD7-B45D5BCC9CCB}"/>
              </a:ext>
            </a:extLst>
          </p:cNvPr>
          <p:cNvSpPr/>
          <p:nvPr/>
        </p:nvSpPr>
        <p:spPr>
          <a:xfrm>
            <a:off x="6300016" y="3885082"/>
            <a:ext cx="293112" cy="292881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9" name="Rectangle 288">
            <a:extLst>
              <a:ext uri="{FF2B5EF4-FFF2-40B4-BE49-F238E27FC236}">
                <a16:creationId xmlns:a16="http://schemas.microsoft.com/office/drawing/2014/main" id="{4F610AF7-43BF-3B8F-730D-1980F3A82AD6}"/>
              </a:ext>
            </a:extLst>
          </p:cNvPr>
          <p:cNvSpPr/>
          <p:nvPr/>
        </p:nvSpPr>
        <p:spPr>
          <a:xfrm>
            <a:off x="6300016" y="3536974"/>
            <a:ext cx="293112" cy="292881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0" name="Rectangle 289">
            <a:extLst>
              <a:ext uri="{FF2B5EF4-FFF2-40B4-BE49-F238E27FC236}">
                <a16:creationId xmlns:a16="http://schemas.microsoft.com/office/drawing/2014/main" id="{1843B13E-8700-4BC4-7FDF-5CE718EC72F7}"/>
              </a:ext>
            </a:extLst>
          </p:cNvPr>
          <p:cNvSpPr/>
          <p:nvPr/>
        </p:nvSpPr>
        <p:spPr>
          <a:xfrm rot="5400000">
            <a:off x="8446393" y="823921"/>
            <a:ext cx="864823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llow fever</a:t>
            </a:r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BAAA491D-A432-A9C6-1C32-DA37ACA1A3BD}"/>
              </a:ext>
            </a:extLst>
          </p:cNvPr>
          <p:cNvSpPr/>
          <p:nvPr/>
        </p:nvSpPr>
        <p:spPr>
          <a:xfrm>
            <a:off x="8736412" y="1818701"/>
            <a:ext cx="293114" cy="288023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DC7D5C70-13FF-F4B4-DE68-6E380AAA7BC6}"/>
              </a:ext>
            </a:extLst>
          </p:cNvPr>
          <p:cNvSpPr/>
          <p:nvPr/>
        </p:nvSpPr>
        <p:spPr>
          <a:xfrm>
            <a:off x="8736412" y="1483005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93" name="Rectangle 292">
            <a:extLst>
              <a:ext uri="{FF2B5EF4-FFF2-40B4-BE49-F238E27FC236}">
                <a16:creationId xmlns:a16="http://schemas.microsoft.com/office/drawing/2014/main" id="{A7AFFF15-59FC-B076-74C0-E799AA3BED59}"/>
              </a:ext>
            </a:extLst>
          </p:cNvPr>
          <p:cNvSpPr/>
          <p:nvPr/>
        </p:nvSpPr>
        <p:spPr>
          <a:xfrm>
            <a:off x="8741833" y="2520565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94" name="Rectangle 293">
            <a:extLst>
              <a:ext uri="{FF2B5EF4-FFF2-40B4-BE49-F238E27FC236}">
                <a16:creationId xmlns:a16="http://schemas.microsoft.com/office/drawing/2014/main" id="{2400F8E7-7278-F976-348F-E0563565E65A}"/>
              </a:ext>
            </a:extLst>
          </p:cNvPr>
          <p:cNvSpPr/>
          <p:nvPr/>
        </p:nvSpPr>
        <p:spPr>
          <a:xfrm>
            <a:off x="8736412" y="2156591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8096647C-679C-BEBB-CF47-65F438B2F775}"/>
              </a:ext>
            </a:extLst>
          </p:cNvPr>
          <p:cNvSpPr/>
          <p:nvPr/>
        </p:nvSpPr>
        <p:spPr>
          <a:xfrm>
            <a:off x="8736412" y="3188185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E5F0E5BA-50A5-3199-62B0-C883A7F476B0}"/>
              </a:ext>
            </a:extLst>
          </p:cNvPr>
          <p:cNvSpPr/>
          <p:nvPr/>
        </p:nvSpPr>
        <p:spPr>
          <a:xfrm>
            <a:off x="8737657" y="3883965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C638CC5A-2B2A-3AE3-423F-52C1F6F3A1ED}"/>
              </a:ext>
            </a:extLst>
          </p:cNvPr>
          <p:cNvSpPr/>
          <p:nvPr/>
        </p:nvSpPr>
        <p:spPr>
          <a:xfrm rot="5400000">
            <a:off x="7402695" y="830005"/>
            <a:ext cx="876995" cy="29311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8">
              <a:defRPr/>
            </a:pPr>
            <a:r>
              <a:rPr lang="en-AU" sz="1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</a:t>
            </a: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598ED0D1-84C8-07B9-F8A9-F48E8C36E948}"/>
              </a:ext>
            </a:extLst>
          </p:cNvPr>
          <p:cNvSpPr/>
          <p:nvPr/>
        </p:nvSpPr>
        <p:spPr>
          <a:xfrm>
            <a:off x="7694635" y="1834697"/>
            <a:ext cx="293114" cy="288023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F97B0A18-013F-2CD0-667D-7082AE56F2F3}"/>
              </a:ext>
            </a:extLst>
          </p:cNvPr>
          <p:cNvSpPr/>
          <p:nvPr/>
        </p:nvSpPr>
        <p:spPr>
          <a:xfrm>
            <a:off x="7694635" y="1483443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64F714A3-A313-5E03-BCD6-0C5EEAF6693D}"/>
              </a:ext>
            </a:extLst>
          </p:cNvPr>
          <p:cNvSpPr/>
          <p:nvPr/>
        </p:nvSpPr>
        <p:spPr>
          <a:xfrm>
            <a:off x="7694635" y="2515030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BB08BB75-E027-F70A-6825-EC3F8AFEDC84}"/>
              </a:ext>
            </a:extLst>
          </p:cNvPr>
          <p:cNvSpPr/>
          <p:nvPr/>
        </p:nvSpPr>
        <p:spPr>
          <a:xfrm>
            <a:off x="7694635" y="2157028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8137A114-0593-F51B-DB2F-D42784410D1D}"/>
              </a:ext>
            </a:extLst>
          </p:cNvPr>
          <p:cNvSpPr/>
          <p:nvPr/>
        </p:nvSpPr>
        <p:spPr>
          <a:xfrm>
            <a:off x="7694635" y="3188623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305" name="Rectangle 304">
            <a:extLst>
              <a:ext uri="{FF2B5EF4-FFF2-40B4-BE49-F238E27FC236}">
                <a16:creationId xmlns:a16="http://schemas.microsoft.com/office/drawing/2014/main" id="{BFC886CA-38B1-E56C-15C4-38CC72964ADE}"/>
              </a:ext>
            </a:extLst>
          </p:cNvPr>
          <p:cNvSpPr/>
          <p:nvPr/>
        </p:nvSpPr>
        <p:spPr>
          <a:xfrm>
            <a:off x="7694635" y="3546632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3DA910F8-5E3F-7C49-978B-E3EF1179CE26}"/>
              </a:ext>
            </a:extLst>
          </p:cNvPr>
          <p:cNvSpPr/>
          <p:nvPr/>
        </p:nvSpPr>
        <p:spPr>
          <a:xfrm>
            <a:off x="8733852" y="3541365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2D4AC138-F7F0-ECF6-8BBA-8EBAA75E4F91}"/>
              </a:ext>
            </a:extLst>
          </p:cNvPr>
          <p:cNvSpPr/>
          <p:nvPr/>
        </p:nvSpPr>
        <p:spPr>
          <a:xfrm>
            <a:off x="7700049" y="3883964"/>
            <a:ext cx="293114" cy="293999"/>
          </a:xfrm>
          <a:prstGeom prst="rect">
            <a:avLst/>
          </a:prstGeom>
          <a:noFill/>
          <a:ln w="9525"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AU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41E0A687-69B9-E9F6-870D-DAD66FE4F1AC}"/>
              </a:ext>
            </a:extLst>
          </p:cNvPr>
          <p:cNvSpPr/>
          <p:nvPr/>
        </p:nvSpPr>
        <p:spPr>
          <a:xfrm>
            <a:off x="6301961" y="2851411"/>
            <a:ext cx="289829" cy="293999"/>
          </a:xfrm>
          <a:prstGeom prst="rect">
            <a:avLst/>
          </a:prstGeom>
          <a:solidFill>
            <a:srgbClr val="A6A6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B79D892F-54AA-1F18-185D-66EEC46AD983}"/>
              </a:ext>
            </a:extLst>
          </p:cNvPr>
          <p:cNvSpPr/>
          <p:nvPr/>
        </p:nvSpPr>
        <p:spPr>
          <a:xfrm>
            <a:off x="6995508" y="2854582"/>
            <a:ext cx="289829" cy="293999"/>
          </a:xfrm>
          <a:prstGeom prst="rect">
            <a:avLst/>
          </a:prstGeom>
          <a:solidFill>
            <a:srgbClr val="A6A6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B05CBEFE-617B-7284-CACD-7B1AE75CB42B}"/>
              </a:ext>
            </a:extLst>
          </p:cNvPr>
          <p:cNvSpPr/>
          <p:nvPr/>
        </p:nvSpPr>
        <p:spPr>
          <a:xfrm>
            <a:off x="7692643" y="2854583"/>
            <a:ext cx="289829" cy="293999"/>
          </a:xfrm>
          <a:prstGeom prst="rect">
            <a:avLst/>
          </a:prstGeom>
          <a:solidFill>
            <a:srgbClr val="A6A6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2" name="Rectangle 311">
            <a:extLst>
              <a:ext uri="{FF2B5EF4-FFF2-40B4-BE49-F238E27FC236}">
                <a16:creationId xmlns:a16="http://schemas.microsoft.com/office/drawing/2014/main" id="{B042B9E5-959A-2F59-160D-DE7E872CE85C}"/>
              </a:ext>
            </a:extLst>
          </p:cNvPr>
          <p:cNvSpPr/>
          <p:nvPr/>
        </p:nvSpPr>
        <p:spPr>
          <a:xfrm>
            <a:off x="8740858" y="2855165"/>
            <a:ext cx="293114" cy="293999"/>
          </a:xfrm>
          <a:prstGeom prst="rect">
            <a:avLst/>
          </a:prstGeom>
          <a:solidFill>
            <a:srgbClr val="A6A6A6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98">
              <a:defRPr/>
            </a:pPr>
            <a:r>
              <a:rPr lang="en-US" sz="1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AU" sz="1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34FC4F4-E185-99BC-A7D6-0022AB6BEAC6}"/>
              </a:ext>
            </a:extLst>
          </p:cNvPr>
          <p:cNvSpPr/>
          <p:nvPr/>
        </p:nvSpPr>
        <p:spPr>
          <a:xfrm>
            <a:off x="71925" y="1438078"/>
            <a:ext cx="9072074" cy="2416895"/>
          </a:xfrm>
          <a:prstGeom prst="rect">
            <a:avLst/>
          </a:prstGeom>
          <a:solidFill>
            <a:srgbClr val="FFFFFF">
              <a:alpha val="7882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650771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61FD883D-F01A-F0F8-AB7A-3C5CDA2679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89" r="24440" b="-2"/>
          <a:stretch/>
        </p:blipFill>
        <p:spPr bwMode="auto">
          <a:xfrm>
            <a:off x="4118194" y="0"/>
            <a:ext cx="5025806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1A45727-3F96-0436-0B2F-DBB92F819A87}"/>
              </a:ext>
            </a:extLst>
          </p:cNvPr>
          <p:cNvSpPr/>
          <p:nvPr/>
        </p:nvSpPr>
        <p:spPr>
          <a:xfrm>
            <a:off x="343363" y="362738"/>
            <a:ext cx="4918594" cy="56854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934EBDF-11B0-CC09-9D0A-10714A4FB225}"/>
              </a:ext>
            </a:extLst>
          </p:cNvPr>
          <p:cNvSpPr txBox="1">
            <a:spLocks/>
          </p:cNvSpPr>
          <p:nvPr/>
        </p:nvSpPr>
        <p:spPr bwMode="auto">
          <a:xfrm>
            <a:off x="323741" y="281975"/>
            <a:ext cx="5098419" cy="731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 defTabSz="457189"/>
            <a:r>
              <a:rPr lang="en-AU" dirty="0">
                <a:solidFill>
                  <a:prstClr val="white"/>
                </a:solidFill>
              </a:rPr>
              <a:t>Accessibility of pharmaci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65339A5-98BD-4814-1104-AA997C95735D}"/>
              </a:ext>
            </a:extLst>
          </p:cNvPr>
          <p:cNvSpPr/>
          <p:nvPr/>
        </p:nvSpPr>
        <p:spPr>
          <a:xfrm>
            <a:off x="362986" y="1881085"/>
            <a:ext cx="2230586" cy="344645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4F5C76-1762-866F-760D-6BCF6EB7ABE2}"/>
              </a:ext>
            </a:extLst>
          </p:cNvPr>
          <p:cNvSpPr/>
          <p:nvPr/>
        </p:nvSpPr>
        <p:spPr>
          <a:xfrm>
            <a:off x="382607" y="4262671"/>
            <a:ext cx="2659852" cy="399725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A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BF31747-D6E7-0A12-E8A5-E972EDE98145}"/>
              </a:ext>
            </a:extLst>
          </p:cNvPr>
          <p:cNvSpPr txBox="1">
            <a:spLocks/>
          </p:cNvSpPr>
          <p:nvPr/>
        </p:nvSpPr>
        <p:spPr bwMode="auto">
          <a:xfrm>
            <a:off x="362986" y="4062965"/>
            <a:ext cx="2816633" cy="731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 defTabSz="457189"/>
            <a:r>
              <a:rPr lang="en-AU" sz="2100" dirty="0">
                <a:solidFill>
                  <a:prstClr val="white"/>
                </a:solidFill>
              </a:rPr>
              <a:t>per person per yea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04B3F3C-ECC4-4C99-FF44-ECC31CBC9D23}"/>
              </a:ext>
            </a:extLst>
          </p:cNvPr>
          <p:cNvSpPr txBox="1"/>
          <p:nvPr/>
        </p:nvSpPr>
        <p:spPr>
          <a:xfrm>
            <a:off x="323741" y="967721"/>
            <a:ext cx="457615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sz="7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99</a:t>
            </a:r>
            <a:endParaRPr lang="en-US" sz="7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3437F76-4F04-AF2B-071B-DA24BCBA1F69}"/>
              </a:ext>
            </a:extLst>
          </p:cNvPr>
          <p:cNvSpPr txBox="1">
            <a:spLocks/>
          </p:cNvSpPr>
          <p:nvPr/>
        </p:nvSpPr>
        <p:spPr bwMode="auto">
          <a:xfrm>
            <a:off x="343363" y="1663165"/>
            <a:ext cx="2362430" cy="731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 defTabSz="457189"/>
            <a:r>
              <a:rPr lang="en-AU" sz="2400" dirty="0">
                <a:solidFill>
                  <a:prstClr val="white"/>
                </a:solidFill>
              </a:rPr>
              <a:t>pharmacies</a:t>
            </a: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41A1BBB-9ABB-7CD6-C40B-E91A69063565}"/>
              </a:ext>
            </a:extLst>
          </p:cNvPr>
          <p:cNvSpPr txBox="1"/>
          <p:nvPr/>
        </p:nvSpPr>
        <p:spPr>
          <a:xfrm>
            <a:off x="201129" y="3351648"/>
            <a:ext cx="457615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sz="7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r>
              <a:rPr lang="en-AU" sz="4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49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ts</a:t>
            </a:r>
            <a:endParaRPr lang="en-US" sz="7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116652A-0CF7-3447-3C55-13E8D66E1661}"/>
              </a:ext>
            </a:extLst>
          </p:cNvPr>
          <p:cNvSpPr txBox="1">
            <a:spLocks/>
          </p:cNvSpPr>
          <p:nvPr/>
        </p:nvSpPr>
        <p:spPr bwMode="auto">
          <a:xfrm>
            <a:off x="362985" y="2224416"/>
            <a:ext cx="3501999" cy="344645"/>
          </a:xfrm>
          <a:prstGeom prst="rect">
            <a:avLst/>
          </a:prstGeom>
          <a:solidFill>
            <a:srgbClr val="002060">
              <a:alpha val="40000"/>
            </a:srgbClr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172800" bIns="45720" numCol="1" anchor="ctr" anchorCtr="0" compatLnSpc="1">
            <a:prstTxWarp prst="textNoShape">
              <a:avLst/>
            </a:prstTxWarp>
            <a:normAutofit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 defTabSz="342892">
              <a:defRPr/>
            </a:pPr>
            <a:r>
              <a:rPr lang="en-AU" sz="1500" dirty="0">
                <a:solidFill>
                  <a:prstClr val="white"/>
                </a:solidFill>
              </a:rPr>
              <a:t>Many open after hours &amp; weekend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FEE205B0-0C05-C536-49B6-C818972C05BF}"/>
              </a:ext>
            </a:extLst>
          </p:cNvPr>
          <p:cNvSpPr txBox="1">
            <a:spLocks/>
          </p:cNvSpPr>
          <p:nvPr/>
        </p:nvSpPr>
        <p:spPr bwMode="auto">
          <a:xfrm>
            <a:off x="362985" y="2569982"/>
            <a:ext cx="3589718" cy="344645"/>
          </a:xfrm>
          <a:prstGeom prst="rect">
            <a:avLst/>
          </a:prstGeom>
          <a:solidFill>
            <a:srgbClr val="002060">
              <a:alpha val="40000"/>
            </a:srgbClr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172800" bIns="45720" numCol="1" anchor="ctr" anchorCtr="0" compatLnSpc="1">
            <a:prstTxWarp prst="textNoShape">
              <a:avLst/>
            </a:prstTxWarp>
            <a:normAutofit fontScale="77500" lnSpcReduction="20000"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 defTabSz="342892">
              <a:defRPr/>
            </a:pPr>
            <a:r>
              <a:rPr lang="en-AU" sz="1500" dirty="0">
                <a:solidFill>
                  <a:prstClr val="white"/>
                </a:solidFill>
              </a:rPr>
              <a:t>96% live within 2.5km of pharmacy (metro)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C49F202C-F780-9893-97E1-E426D4C30AB7}"/>
              </a:ext>
            </a:extLst>
          </p:cNvPr>
          <p:cNvSpPr txBox="1">
            <a:spLocks/>
          </p:cNvSpPr>
          <p:nvPr/>
        </p:nvSpPr>
        <p:spPr bwMode="auto">
          <a:xfrm>
            <a:off x="362985" y="2919377"/>
            <a:ext cx="3755209" cy="344645"/>
          </a:xfrm>
          <a:prstGeom prst="rect">
            <a:avLst/>
          </a:prstGeom>
          <a:solidFill>
            <a:srgbClr val="002060">
              <a:alpha val="40000"/>
            </a:srgbClr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172800" bIns="45720" numCol="1" anchor="ctr" anchorCtr="0" compatLnSpc="1">
            <a:prstTxWarp prst="textNoShape">
              <a:avLst/>
            </a:prstTxWarp>
            <a:normAutofit fontScale="77500" lnSpcReduction="20000"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 defTabSz="342892">
              <a:defRPr/>
            </a:pPr>
            <a:r>
              <a:rPr lang="en-AU" sz="1500" dirty="0">
                <a:solidFill>
                  <a:prstClr val="white"/>
                </a:solidFill>
              </a:rPr>
              <a:t>74% live within 2.5km of pharmacy (regional)</a:t>
            </a:r>
          </a:p>
        </p:txBody>
      </p:sp>
    </p:spTree>
    <p:extLst>
      <p:ext uri="{BB962C8B-B14F-4D97-AF65-F5344CB8AC3E}">
        <p14:creationId xmlns:p14="http://schemas.microsoft.com/office/powerpoint/2010/main" val="19089093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53D3E9-969F-C721-3DC2-20631FA640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85A5DBB-20C5-82BB-D6A9-46AD09DD87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80115" y="0"/>
            <a:ext cx="9324115" cy="521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0162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023D03-459C-7060-9B01-376285FCDA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71FBC4-01DE-3B16-53BA-F1A9683DD1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2743" y="414224"/>
            <a:ext cx="3755950" cy="3764151"/>
          </a:xfrm>
          <a:prstGeom prst="rect">
            <a:avLst/>
          </a:prstGeom>
        </p:spPr>
      </p:pic>
      <p:pic>
        <p:nvPicPr>
          <p:cNvPr id="1026" name="Picture 2" descr="May be an image of text that says 'NSW Have more fun Vaccinations keep you healthy so you can keep doing the things you love. Vaccinate.'">
            <a:extLst>
              <a:ext uri="{FF2B5EF4-FFF2-40B4-BE49-F238E27FC236}">
                <a16:creationId xmlns:a16="http://schemas.microsoft.com/office/drawing/2014/main" id="{2C4F56A6-E57F-1696-6706-FEA3FA24D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316" y="414223"/>
            <a:ext cx="3764151" cy="3764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49118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F65D98-3E7D-FF4D-4CA3-813159B437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1CA8859-DDDD-50EF-A5E0-0D73F22BCEA9}"/>
              </a:ext>
            </a:extLst>
          </p:cNvPr>
          <p:cNvSpPr>
            <a:spLocks noGrp="1"/>
          </p:cNvSpPr>
          <p:nvPr>
            <p:ph sz="half" idx="10"/>
          </p:nvPr>
        </p:nvSpPr>
        <p:spPr/>
        <p:txBody>
          <a:bodyPr/>
          <a:lstStyle/>
          <a:p>
            <a:endParaRPr lang="en-AU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1CA22FB-0AA4-3FAF-6E93-A74E973414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222" y="150713"/>
            <a:ext cx="3558905" cy="50689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D29753E-139E-1E04-257C-A54574FCCF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1554" y="150713"/>
            <a:ext cx="4836918" cy="4426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4730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CA3F5A-15E2-F230-D6D5-1E0091A411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510AE90A-7362-5F5A-3DF1-EFCC211B8B73}"/>
              </a:ext>
            </a:extLst>
          </p:cNvPr>
          <p:cNvGraphicFramePr/>
          <p:nvPr/>
        </p:nvGraphicFramePr>
        <p:xfrm>
          <a:off x="271963" y="824726"/>
          <a:ext cx="8433600" cy="3956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FFD8087D-5626-F864-0263-68D3A64F73A8}"/>
              </a:ext>
            </a:extLst>
          </p:cNvPr>
          <p:cNvSpPr/>
          <p:nvPr/>
        </p:nvSpPr>
        <p:spPr>
          <a:xfrm>
            <a:off x="3742022" y="362736"/>
            <a:ext cx="4357978" cy="568543"/>
          </a:xfrm>
          <a:prstGeom prst="rect">
            <a:avLst/>
          </a:prstGeom>
          <a:solidFill>
            <a:srgbClr val="C00000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F1CB9D-2312-8656-CAA1-CC3F27A7684B}"/>
              </a:ext>
            </a:extLst>
          </p:cNvPr>
          <p:cNvSpPr/>
          <p:nvPr/>
        </p:nvSpPr>
        <p:spPr>
          <a:xfrm>
            <a:off x="343362" y="362737"/>
            <a:ext cx="3415038" cy="56854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03EA8B5-096A-88BF-5713-886CC4EA53EA}"/>
              </a:ext>
            </a:extLst>
          </p:cNvPr>
          <p:cNvSpPr txBox="1">
            <a:spLocks/>
          </p:cNvSpPr>
          <p:nvPr/>
        </p:nvSpPr>
        <p:spPr bwMode="auto">
          <a:xfrm>
            <a:off x="323741" y="281974"/>
            <a:ext cx="7940693" cy="731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en-AU"/>
              <a:t>Vaccination trends   Childhood (5 years age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334ADC2-F0C4-4450-68A3-DECB40F92908}"/>
              </a:ext>
            </a:extLst>
          </p:cNvPr>
          <p:cNvSpPr txBox="1"/>
          <p:nvPr/>
        </p:nvSpPr>
        <p:spPr>
          <a:xfrm>
            <a:off x="323740" y="4904627"/>
            <a:ext cx="777625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GB" sz="800"/>
              <a:t>Source: AIR via </a:t>
            </a:r>
            <a:r>
              <a:rPr lang="en-GB" sz="800">
                <a:hlinkClick r:id="rId4"/>
              </a:rPr>
              <a:t>https://www.health.gov.au/topics/immunisation/immunisation-data/human-papillomavirus-hpv-immunisation-data</a:t>
            </a:r>
            <a:r>
              <a:rPr lang="en-GB" sz="800"/>
              <a:t>, Data as at 13 June 2025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42C13E1-2857-5867-A107-ADEC583833BF}"/>
              </a:ext>
            </a:extLst>
          </p:cNvPr>
          <p:cNvCxnSpPr>
            <a:cxnSpLocks/>
          </p:cNvCxnSpPr>
          <p:nvPr/>
        </p:nvCxnSpPr>
        <p:spPr>
          <a:xfrm>
            <a:off x="1432800" y="1555200"/>
            <a:ext cx="7149600" cy="0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Arrow: Pentagon 3">
            <a:extLst>
              <a:ext uri="{FF2B5EF4-FFF2-40B4-BE49-F238E27FC236}">
                <a16:creationId xmlns:a16="http://schemas.microsoft.com/office/drawing/2014/main" id="{19C360DF-CB64-F33D-9CC2-EEA6999B0A5F}"/>
              </a:ext>
            </a:extLst>
          </p:cNvPr>
          <p:cNvSpPr/>
          <p:nvPr/>
        </p:nvSpPr>
        <p:spPr>
          <a:xfrm>
            <a:off x="7324907" y="1293578"/>
            <a:ext cx="1442238" cy="360906"/>
          </a:xfrm>
          <a:prstGeom prst="homePlate">
            <a:avLst>
              <a:gd name="adj" fmla="val 0"/>
            </a:avLst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5% target</a:t>
            </a:r>
          </a:p>
        </p:txBody>
      </p:sp>
    </p:spTree>
    <p:extLst>
      <p:ext uri="{BB962C8B-B14F-4D97-AF65-F5344CB8AC3E}">
        <p14:creationId xmlns:p14="http://schemas.microsoft.com/office/powerpoint/2010/main" val="35986938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SA_Blue Banner_pp_template W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SA powerpoint template WS NEW_22" id="{E0DF500A-3BE0-174C-AE1A-B9807DAAFF17}" vid="{3DA26C02-DCE1-C147-8D94-0F76DC9D659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a955d7a-74b6-4e85-ba00-e8429b42427d">
      <Terms xmlns="http://schemas.microsoft.com/office/infopath/2007/PartnerControls"/>
    </lcf76f155ced4ddcb4097134ff3c332f>
    <TaxCatchAll xmlns="7634cd56-e5f1-467f-9b9a-c25e5516db4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84F2A0408106419B6D7EBA69342693" ma:contentTypeVersion="11" ma:contentTypeDescription="Create a new document." ma:contentTypeScope="" ma:versionID="fc63014aa6d25238fc4f198c610773d7">
  <xsd:schema xmlns:xsd="http://www.w3.org/2001/XMLSchema" xmlns:xs="http://www.w3.org/2001/XMLSchema" xmlns:p="http://schemas.microsoft.com/office/2006/metadata/properties" xmlns:ns2="aa955d7a-74b6-4e85-ba00-e8429b42427d" xmlns:ns3="7634cd56-e5f1-467f-9b9a-c25e5516db48" targetNamespace="http://schemas.microsoft.com/office/2006/metadata/properties" ma:root="true" ma:fieldsID="d658691fbdc72c86f44eaa9d32ea8d9d" ns2:_="" ns3:_="">
    <xsd:import namespace="aa955d7a-74b6-4e85-ba00-e8429b42427d"/>
    <xsd:import namespace="7634cd56-e5f1-467f-9b9a-c25e5516db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955d7a-74b6-4e85-ba00-e8429b42427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44191431-5a95-40a2-95a2-f47a16dcab5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34cd56-e5f1-467f-9b9a-c25e5516db48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f0472c15-5fff-4ab1-8ac4-2a5621ac5309}" ma:internalName="TaxCatchAll" ma:showField="CatchAllData" ma:web="7634cd56-e5f1-467f-9b9a-c25e5516db4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CEF3BAA-8C7E-40C5-BC17-E26D6AB0C0C3}">
  <ds:schemaRefs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purl.org/dc/dcmitype/"/>
    <ds:schemaRef ds:uri="aa955d7a-74b6-4e85-ba00-e8429b42427d"/>
    <ds:schemaRef ds:uri="http://www.w3.org/XML/1998/namespace"/>
    <ds:schemaRef ds:uri="http://purl.org/dc/terms/"/>
    <ds:schemaRef ds:uri="7634cd56-e5f1-467f-9b9a-c25e5516db48"/>
  </ds:schemaRefs>
</ds:datastoreItem>
</file>

<file path=customXml/itemProps2.xml><?xml version="1.0" encoding="utf-8"?>
<ds:datastoreItem xmlns:ds="http://schemas.openxmlformats.org/officeDocument/2006/customXml" ds:itemID="{7BA1BFDB-3CF5-4A02-B026-6A1877F9715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951C926-86F8-4140-931B-AD56D45FED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955d7a-74b6-4e85-ba00-e8429b42427d"/>
    <ds:schemaRef ds:uri="7634cd56-e5f1-467f-9b9a-c25e5516db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SA powerpoint template WS NEW_23 (1)</Template>
  <TotalTime>8715</TotalTime>
  <Words>1585</Words>
  <Application>Microsoft Office PowerPoint</Application>
  <PresentationFormat>On-screen Show (16:9)</PresentationFormat>
  <Paragraphs>674</Paragraphs>
  <Slides>26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2" baseType="lpstr">
      <vt:lpstr>Aptos</vt:lpstr>
      <vt:lpstr>Arial</vt:lpstr>
      <vt:lpstr>Calibri</vt:lpstr>
      <vt:lpstr>Roboto</vt:lpstr>
      <vt:lpstr>PSA_Blue Banner_pp_template WS</vt:lpstr>
      <vt:lpstr>think-cell Slide</vt:lpstr>
      <vt:lpstr>   Pharmacists beyond the counter :  Improving vaccine accessibility  Mayli Foong  WA State Manager Pharmaceutical Society of Australia </vt:lpstr>
      <vt:lpstr>Australia’s pharmacist vaccination journe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actice changes to drive vaccination</vt:lpstr>
      <vt:lpstr>PowerPoint Presentation</vt:lpstr>
      <vt:lpstr>Evidence based conversations</vt:lpstr>
      <vt:lpstr>Review missing vaccines at every vaccination event</vt:lpstr>
      <vt:lpstr>Focus on  co-administration</vt:lpstr>
      <vt:lpstr>Thank you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Mayli Foong</dc:creator>
  <cp:keywords/>
  <dc:description/>
  <cp:lastModifiedBy>Mayli Foong</cp:lastModifiedBy>
  <cp:revision>5</cp:revision>
  <dcterms:created xsi:type="dcterms:W3CDTF">2025-03-13T09:01:29Z</dcterms:created>
  <dcterms:modified xsi:type="dcterms:W3CDTF">2025-11-12T07:28:4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A84F2A0408106419B6D7EBA69342693</vt:lpwstr>
  </property>
</Properties>
</file>